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8.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comments/modernComment_7BBF5833_E855211E.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BBF582C_7916BD30.xml" ContentType="application/vnd.ms-powerpoint.comment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comments/modernComment_7BBF56CE_FAE02A9C.xml" ContentType="application/vnd.ms-powerpoint.comments+xml"/>
  <Override PartName="/ppt/notesSlides/notesSlide10.xml" ContentType="application/vnd.openxmlformats-officedocument.presentationml.notesSlide+xml"/>
  <Override PartName="/ppt/comments/modernComment_7BBF5832_72B077DC.xml" ContentType="application/vnd.ms-powerpoint.comments+xml"/>
  <Override PartName="/ppt/tags/tag2.xml" ContentType="application/vnd.openxmlformats-officedocument.presentationml.tags+xml"/>
  <Override PartName="/ppt/notesSlides/notesSlide11.xml" ContentType="application/vnd.openxmlformats-officedocument.presentationml.notesSlide+xml"/>
  <Override PartName="/ppt/comments/modernComment_7BBF5831_90A4E7C0.xml" ContentType="application/vnd.ms-powerpoint.comments+xml"/>
  <Override PartName="/ppt/notesSlides/notesSlide12.xml" ContentType="application/vnd.openxmlformats-officedocument.presentationml.notesSlide+xml"/>
  <Override PartName="/ppt/comments/modernComment_7BBF555C_1D4579CB.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87" r:id="rId3"/>
    <p:sldMasterId id="2147483727" r:id="rId4"/>
    <p:sldMasterId id="2147483764" r:id="rId5"/>
    <p:sldMasterId id="2147483819" r:id="rId6"/>
    <p:sldMasterId id="2147483845" r:id="rId7"/>
    <p:sldMasterId id="2147483877" r:id="rId8"/>
    <p:sldMasterId id="2147483909" r:id="rId9"/>
  </p:sldMasterIdLst>
  <p:notesMasterIdLst>
    <p:notesMasterId r:id="rId37"/>
  </p:notesMasterIdLst>
  <p:sldIdLst>
    <p:sldId id="2076137761" r:id="rId10"/>
    <p:sldId id="2076137772" r:id="rId11"/>
    <p:sldId id="2076137773" r:id="rId12"/>
    <p:sldId id="259" r:id="rId13"/>
    <p:sldId id="2076136817" r:id="rId14"/>
    <p:sldId id="2076137523" r:id="rId15"/>
    <p:sldId id="399" r:id="rId16"/>
    <p:sldId id="2076137516" r:id="rId17"/>
    <p:sldId id="2076137166" r:id="rId18"/>
    <p:sldId id="2076137522" r:id="rId19"/>
    <p:sldId id="2076137189" r:id="rId20"/>
    <p:sldId id="2076137521" r:id="rId21"/>
    <p:sldId id="2076136796" r:id="rId22"/>
    <p:sldId id="2076137517" r:id="rId23"/>
    <p:sldId id="2076137518" r:id="rId24"/>
    <p:sldId id="2076137519" r:id="rId25"/>
    <p:sldId id="2076137520" r:id="rId26"/>
    <p:sldId id="2076137769" r:id="rId27"/>
    <p:sldId id="2076137513" r:id="rId28"/>
    <p:sldId id="2076136795" r:id="rId29"/>
    <p:sldId id="2076136799" r:id="rId30"/>
    <p:sldId id="2076137770" r:id="rId31"/>
    <p:sldId id="2076137514" r:id="rId32"/>
    <p:sldId id="2076137504" r:id="rId33"/>
    <p:sldId id="2076137167" r:id="rId34"/>
    <p:sldId id="2076137771" r:id="rId35"/>
    <p:sldId id="2076137531"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42" autoAdjust="0"/>
    <p:restoredTop sz="74772" autoAdjust="0"/>
  </p:normalViewPr>
  <p:slideViewPr>
    <p:cSldViewPr snapToGrid="0">
      <p:cViewPr varScale="1">
        <p:scale>
          <a:sx n="61" d="100"/>
          <a:sy n="61" d="100"/>
        </p:scale>
        <p:origin x="672" y="3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comments/modernComment_7BBF555C_1D4579CB.xml><?xml version="1.0" encoding="utf-8"?>
<p188:cmLst xmlns:a="http://schemas.openxmlformats.org/drawingml/2006/main" xmlns:r="http://schemas.openxmlformats.org/officeDocument/2006/relationships" xmlns:p188="http://schemas.microsoft.com/office/powerpoint/2018/8/main">
  <p188:cm id="{74ADE109-51C5-4D41-8270-F8EF8480E4CA}" authorId="{00736960-32DC-9AA2-6D1D-8EB30983C23E}" status="resolved" created="2019-11-05T13:25:34.113" complete="100000">
    <ac:deMkLst xmlns:ac="http://schemas.microsoft.com/office/drawing/2013/main/command">
      <pc:docMk xmlns:pc="http://schemas.microsoft.com/office/powerpoint/2013/main/command"/>
      <pc:sldMk xmlns:pc="http://schemas.microsoft.com/office/powerpoint/2013/main/command" cId="491092427" sldId="2076136796"/>
      <ac:spMk id="5" creationId="{1965C168-FDC4-4047-835D-B58105A3B630}"/>
    </ac:deMkLst>
    <p188:txBody>
      <a:bodyPr/>
      <a:lstStyle/>
      <a:p>
        <a:r>
          <a:rPr lang="en-US"/>
          <a:t>[@Philippe Brissaud] - We should use no-code somewhere here as well.</a:t>
        </a:r>
      </a:p>
    </p188:txBody>
  </p188:cm>
</p188:cmLst>
</file>

<file path=ppt/comments/modernComment_7BBF56CE_FAE02A9C.xml><?xml version="1.0" encoding="utf-8"?>
<p188:cmLst xmlns:a="http://schemas.openxmlformats.org/drawingml/2006/main" xmlns:r="http://schemas.openxmlformats.org/officeDocument/2006/relationships" xmlns:p188="http://schemas.microsoft.com/office/powerpoint/2018/8/main">
  <p188:cm id="{85726020-F753-4DFD-B262-B7DBCA7D04DD}" authorId="{00736960-32DC-9AA2-6D1D-8EB30983C23E}" status="resolved" created="2019-11-05T13:30:56.966" complete="100000">
    <pc:sldMkLst xmlns:pc="http://schemas.microsoft.com/office/powerpoint/2013/main/command">
      <pc:docMk/>
      <pc:sldMk cId="4208994972" sldId="2076137166"/>
    </pc:sldMkLst>
    <p188:txBody>
      <a:bodyPr/>
      <a:lstStyle/>
      <a:p>
        <a:r>
          <a:rPr lang="en-US"/>
          <a:t>[@Philippe Brissaud] - This needs to be the same as slide #3</a:t>
        </a:r>
      </a:p>
    </p188:txBody>
  </p188:cm>
</p188:cmLst>
</file>

<file path=ppt/comments/modernComment_7BBF582C_7916BD30.xml><?xml version="1.0" encoding="utf-8"?>
<p188:cmLst xmlns:a="http://schemas.openxmlformats.org/drawingml/2006/main" xmlns:r="http://schemas.openxmlformats.org/officeDocument/2006/relationships" xmlns:p188="http://schemas.microsoft.com/office/powerpoint/2018/8/main">
  <p188:cm id="{67188E97-F84C-43F1-B377-0407FEC43BE6}" authorId="{00736960-32DC-9AA2-6D1D-8EB30983C23E}" status="resolved" created="2019-11-05T13:39:02.005"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Consider using "gap in understanding" or "friction"</a:t>
        </a:r>
      </a:p>
    </p188:txBody>
  </p188:cm>
  <p188:cm id="{3D7BDFDF-43EC-4377-AFDD-8374C0723A29}" authorId="{00736960-32DC-9AA2-6D1D-8EB30983C23E}" status="resolved" created="2019-11-05T13:41:45.943"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Don't like how this is phrased .. suggest using a positive tone (stating the desired outcome)..
"Bots must seamlessly connect and leverage all backend systems and services to provide personalized experiences"</a:t>
        </a:r>
      </a:p>
    </p188:txBody>
  </p188:cm>
  <p188:cm id="{59AA9DED-7251-4A90-A0F1-D06EEB68554E}" authorId="{00736960-32DC-9AA2-6D1D-8EB30983C23E}" status="resolved" created="2019-11-05T14:06:23.482"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Talk about content updates are hard.</a:t>
        </a:r>
      </a:p>
    </p188:txBody>
  </p188:cm>
</p188:cmLst>
</file>

<file path=ppt/comments/modernComment_7BBF5831_90A4E7C0.xml><?xml version="1.0" encoding="utf-8"?>
<p188:cmLst xmlns:a="http://schemas.openxmlformats.org/drawingml/2006/main" xmlns:r="http://schemas.openxmlformats.org/officeDocument/2006/relationships" xmlns:p188="http://schemas.microsoft.com/office/powerpoint/2018/8/main">
  <p188:cm id="{774719BE-5779-4E64-BC72-A9086F4D6E3C}" authorId="{00736960-32DC-9AA2-6D1D-8EB30983C23E}" created="2019-11-05T13:24:10.758">
    <pc:sldMkLst xmlns:pc="http://schemas.microsoft.com/office/powerpoint/2013/main/command">
      <pc:docMk/>
      <pc:sldMk cId="3925738724" sldId="2076137470"/>
    </pc:sldMkLst>
    <p188:replyLst>
      <p188:reply id="{8D024CA4-8E27-4036-8CA4-4C92962434C2}" authorId="{00736960-32DC-9AA2-6D1D-8EB30983C23E}" created="2019-11-05T13:46:05.438">
        <p188:txBody>
          <a:bodyPr/>
          <a:lstStyle/>
          <a:p>
            <a:r>
              <a:rPr lang="en-US"/>
              <a:t>Act 1 - Empowering experts to build powerful conversations
Act 2 - Leverage the "power" to create personalized experiences
Act 3 - Limitless extensibility to build real-world scenarios</a:t>
            </a:r>
          </a:p>
        </p188:txBody>
      </p188:reply>
    </p188:replyLst>
    <p188:txBody>
      <a:bodyPr/>
      <a:lstStyle/>
      <a:p>
        <a:r>
          <a:rPr lang="en-US"/>
          <a:t>[@Philippe Brissaud] - This should roughly follow the 3 acts.</a:t>
        </a:r>
      </a:p>
    </p188:txBody>
  </p188:cm>
  <p188:cm id="{2FFAFA51-7943-44F3-B282-0EABD46AE0E4}" authorId="{00736960-32DC-9AA2-6D1D-8EB30983C23E}" status="resolved" created="2019-11-07T04:08:06.896">
    <pc:sldMkLst xmlns:pc="http://schemas.microsoft.com/office/powerpoint/2013/main/command">
      <pc:docMk/>
      <pc:sldMk cId="2426726336" sldId="2076137521"/>
    </pc:sldMkLst>
    <p188:replyLst>
      <p188:reply id="{77B8780B-FCDA-4699-90D6-4C36D2AA137C}" authorId="{84DC5844-E5B7-2474-2176-EC54CF0FF595}" created="2019-11-07T04:11:16.608">
        <p188:txBody>
          <a:bodyPr/>
          <a:lstStyle/>
          <a:p>
            <a:r>
              <a:rPr lang="en-US"/>
              <a:t>Still working through the deck.</a:t>
            </a:r>
          </a:p>
        </p188:txBody>
      </p188:reply>
    </p188:replyLst>
    <p188:txBody>
      <a:bodyPr/>
      <a:lstStyle/>
      <a:p>
        <a:r>
          <a:rPr lang="en-US"/>
          <a:t>[@Philippe Brissaud] - This isn't aligned with the demo categories. Can you please fix it?</a:t>
        </a:r>
      </a:p>
    </p188:txBody>
  </p188:cm>
</p188:cmLst>
</file>

<file path=ppt/comments/modernComment_7BBF5832_72B077DC.xml><?xml version="1.0" encoding="utf-8"?>
<p188:cmLst xmlns:a="http://schemas.openxmlformats.org/drawingml/2006/main" xmlns:r="http://schemas.openxmlformats.org/officeDocument/2006/relationships" xmlns:p188="http://schemas.microsoft.com/office/powerpoint/2018/8/main">
  <p188:cm id="{F6CB57C2-257B-4DA4-A432-BE4DE1FDBBF6}" authorId="{29BF26FA-686B-9AF1-9F6A-883999E12463}" status="closed" created="2019-07-03T19:41:08.143" complete="100000">
    <pc:sldMkLst xmlns:pc="http://schemas.microsoft.com/office/powerpoint/2013/main/command">
      <pc:docMk/>
      <pc:sldMk cId="1638203154" sldId="2076136489"/>
    </pc:sldMkLst>
    <p188:pos x="0" y="0"/>
    <p188:txBody>
      <a:bodyPr/>
      <a:lstStyle/>
      <a:p>
        <a:r>
          <a:rPr lang="en-US"/>
          <a:t>Missing Azure here?</a:t>
        </a:r>
      </a:p>
    </p188:txBody>
  </p188:cm>
  <p188:cm id="{9BCE1AF7-F7FF-4701-B0F8-EDB08F476379}" authorId="{02F78137-4635-F75D-871C-943EB6B0759F}" status="resolved" created="2019-10-22T14:08:59.827" complete="100000">
    <pc:sldMkLst xmlns:pc="http://schemas.microsoft.com/office/powerpoint/2013/main/command">
      <pc:docMk/>
      <pc:sldMk cId="4136421044" sldId="2076137116"/>
    </pc:sldMkLst>
    <p188:txBody>
      <a:bodyPr/>
      <a:lstStyle/>
      <a:p>
        <a:r>
          <a:rPr lang="en-US"/>
          <a:t>See comment on slide 3</a:t>
        </a:r>
      </a:p>
    </p188:txBody>
  </p188:cm>
</p188:cmLst>
</file>

<file path=ppt/comments/modernComment_7BBF5833_E855211E.xml><?xml version="1.0" encoding="utf-8"?>
<p188:cmLst xmlns:a="http://schemas.openxmlformats.org/drawingml/2006/main" xmlns:r="http://schemas.openxmlformats.org/officeDocument/2006/relationships" xmlns:p188="http://schemas.microsoft.com/office/powerpoint/2018/8/main">
  <p188:cm id="{DAD27DDA-1295-45F8-ABB5-3D59881947E0}" authorId="{00736960-32DC-9AA2-6D1D-8EB30983C23E}" status="resolved" created="2019-11-05T13:29:06.465" complete="100000">
    <ac:deMkLst xmlns:ac="http://schemas.microsoft.com/office/drawing/2013/main/command">
      <pc:docMk xmlns:pc="http://schemas.microsoft.com/office/powerpoint/2013/main/command"/>
      <pc:sldMk xmlns:pc="http://schemas.microsoft.com/office/powerpoint/2013/main/command" cId="814459247" sldId="2076137047"/>
      <ac:spMk id="12" creationId="{FE342387-CD50-47A2-BE8F-AB953D27EC64}"/>
    </ac:deMkLst>
    <p188:txBody>
      <a:bodyPr/>
      <a:lstStyle/>
      <a:p>
        <a:r>
          <a:rPr lang="en-US"/>
          <a:t>[@Philippe Brissaud] - Instead of people.. consider using "experts" to suggest that we serve to non-developer subject matter expert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noFill/>
        </a:ln>
      </dgm:spPr>
      <dgm:t>
        <a:bodyPr/>
        <a:lstStyle/>
        <a:p>
          <a:r>
            <a:rPr lang="en-AU" sz="1100" dirty="0"/>
            <a:t>Day 1 – Part I </a:t>
          </a:r>
        </a:p>
        <a:p>
          <a:r>
            <a:rPr lang="en-US" sz="1100" dirty="0"/>
            <a:t>Empowering Everyone with Power Platform – From CEO to Frontline Workers</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1 – Part II</a:t>
          </a:r>
        </a:p>
        <a:p>
          <a:r>
            <a:rPr lang="en-US" sz="1100" dirty="0"/>
            <a:t>Power Packed Day with Power Canvas Apps</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9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2– Part I</a:t>
          </a:r>
        </a:p>
        <a:p>
          <a:r>
            <a:rPr lang="en-US" sz="1100" dirty="0"/>
            <a:t>Power Packed Day with Power Model Driven App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Let’s talk about data</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2– Part II</a:t>
          </a:r>
        </a:p>
        <a:p>
          <a:r>
            <a:rPr lang="en-US" sz="1100" dirty="0"/>
            <a:t>Power Packed Day with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rgbClr val="7030A0"/>
        </a:solidFill>
        <a:ln>
          <a:solidFill>
            <a:schemeClr val="bg1">
              <a:lumMod val="65000"/>
            </a:schemeClr>
          </a:solidFill>
        </a:ln>
      </dgm:spPr>
      <dgm:t>
        <a:bodyPr/>
        <a:lstStyle/>
        <a:p>
          <a:r>
            <a:rPr lang="en-AU" sz="1100" dirty="0"/>
            <a:t>Day 3– Part I</a:t>
          </a:r>
        </a:p>
        <a:p>
          <a:r>
            <a:rPr lang="en-US" sz="1100" dirty="0"/>
            <a:t>Power Packed Day with Power Agents</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0CF6FF1F-C08F-4FC3-A083-8DE69E9808EC}">
      <dgm:prSet custT="1"/>
      <dgm:spPr/>
      <dgm:t>
        <a:bodyPr/>
        <a:lstStyle/>
        <a:p>
          <a:pPr>
            <a:lnSpc>
              <a:spcPct val="150000"/>
            </a:lnSpc>
            <a:buFont typeface="Wingdings" panose="05000000000000000000" pitchFamily="2" charset="2"/>
            <a:buChar char="ü"/>
          </a:pPr>
          <a:r>
            <a:rPr lang="en-GB" sz="1100" dirty="0"/>
            <a:t>Demo</a:t>
          </a:r>
        </a:p>
      </dgm:t>
    </dgm:pt>
    <dgm:pt modelId="{E2C68DD5-0B4D-46BB-8703-7E6E04774A00}" type="parTrans" cxnId="{B4E214AA-5BD0-42F3-AC2F-CDAC373FF126}">
      <dgm:prSet/>
      <dgm:spPr/>
      <dgm:t>
        <a:bodyPr/>
        <a:lstStyle/>
        <a:p>
          <a:endParaRPr lang="en-GB"/>
        </a:p>
      </dgm:t>
    </dgm:pt>
    <dgm:pt modelId="{69BB4931-D0E5-4586-B4A7-B24CFD9DD6C0}" type="sibTrans" cxnId="{B4E214AA-5BD0-42F3-AC2F-CDAC373FF126}">
      <dgm:prSet/>
      <dgm:spPr/>
      <dgm:t>
        <a:bodyPr/>
        <a:lstStyle/>
        <a:p>
          <a:endParaRPr lang="en-GB"/>
        </a:p>
      </dgm:t>
    </dgm:pt>
    <dgm:pt modelId="{DC1AB3C9-E76A-4172-85C2-F2254809A158}">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dgm:t>
    </dgm:pt>
    <dgm:pt modelId="{C5D9562B-6B57-4AC9-BF23-4DE294D9CCC0}" type="parTrans" cxnId="{F9C9F39C-7EC0-43C6-9FB2-54FA2A754ED4}">
      <dgm:prSet/>
      <dgm:spPr/>
      <dgm:t>
        <a:bodyPr/>
        <a:lstStyle/>
        <a:p>
          <a:endParaRPr lang="en-GB"/>
        </a:p>
      </dgm:t>
    </dgm:pt>
    <dgm:pt modelId="{166C141F-AA0E-4C97-B1EA-A06F2DE1C2CA}" type="sibTrans" cxnId="{F9C9F39C-7EC0-43C6-9FB2-54FA2A754ED4}">
      <dgm:prSet/>
      <dgm:spPr/>
      <dgm:t>
        <a:bodyPr/>
        <a:lstStyle/>
        <a:p>
          <a:endParaRPr lang="en-GB"/>
        </a:p>
      </dgm:t>
    </dgm:pt>
    <dgm:pt modelId="{6F7084A3-F6F4-4055-8404-3AB7D7F43B45}">
      <dgm:prSet custT="1"/>
      <dgm:spPr/>
      <dgm:t>
        <a:bodyPr/>
        <a:lstStyle/>
        <a:p>
          <a:pPr>
            <a:lnSpc>
              <a:spcPct val="150000"/>
            </a:lnSpc>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dgm:t>
    </dgm:pt>
    <dgm:pt modelId="{FB834508-C913-4467-8009-DCEB15E722F0}" type="parTrans" cxnId="{EBA58CA9-A3CE-412F-9474-7EAFF04D075A}">
      <dgm:prSet/>
      <dgm:spPr/>
      <dgm:t>
        <a:bodyPr/>
        <a:lstStyle/>
        <a:p>
          <a:endParaRPr lang="en-GB"/>
        </a:p>
      </dgm:t>
    </dgm:pt>
    <dgm:pt modelId="{06B3AF3A-C83F-448F-BA86-3585D21C19DD}" type="sibTrans" cxnId="{EBA58CA9-A3CE-412F-9474-7EAFF04D075A}">
      <dgm:prSet/>
      <dgm:spPr/>
      <dgm:t>
        <a:bodyPr/>
        <a:lstStyle/>
        <a:p>
          <a:endParaRPr lang="en-GB"/>
        </a:p>
      </dgm:t>
    </dgm:pt>
    <dgm:pt modelId="{733AC198-8C9A-4B42-9E53-02CEB15F3C9F}">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dgm:t>
    </dgm:pt>
    <dgm:pt modelId="{0608B9E6-3495-41C4-8CB6-E742C70D3BD5}" type="parTrans" cxnId="{71F5C5CE-76D8-4EC7-A21E-453AF89BD604}">
      <dgm:prSet/>
      <dgm:spPr/>
      <dgm:t>
        <a:bodyPr/>
        <a:lstStyle/>
        <a:p>
          <a:endParaRPr lang="en-GB"/>
        </a:p>
      </dgm:t>
    </dgm:pt>
    <dgm:pt modelId="{4C7AF5B8-74FC-4ECC-8F44-8EC6EDA79510}" type="sibTrans" cxnId="{71F5C5CE-76D8-4EC7-A21E-453AF89BD604}">
      <dgm:prSet/>
      <dgm:spPr/>
      <dgm:t>
        <a:bodyPr/>
        <a:lstStyle/>
        <a:p>
          <a:endParaRPr lang="en-GB"/>
        </a:p>
      </dgm:t>
    </dgm:pt>
    <dgm:pt modelId="{DDB2D429-A54B-474B-9DCF-A0E6B52D46DA}">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dgm:t>
    </dgm:pt>
    <dgm:pt modelId="{B3BE7EFD-D6E0-4FFE-9245-9412FF200740}" type="parTrans" cxnId="{CE4D4D1E-7755-456F-BC4E-8D9B3E3BB04A}">
      <dgm:prSet/>
      <dgm:spPr/>
      <dgm:t>
        <a:bodyPr/>
        <a:lstStyle/>
        <a:p>
          <a:endParaRPr lang="en-GB"/>
        </a:p>
      </dgm:t>
    </dgm:pt>
    <dgm:pt modelId="{08ECC846-92B0-466D-8FBC-C4D6AC294A79}" type="sibTrans" cxnId="{CE4D4D1E-7755-456F-BC4E-8D9B3E3BB04A}">
      <dgm:prSet/>
      <dgm:spPr/>
      <dgm:t>
        <a:bodyPr/>
        <a:lstStyle/>
        <a:p>
          <a:endParaRPr lang="en-GB"/>
        </a:p>
      </dgm:t>
    </dgm:pt>
    <dgm:pt modelId="{CD46F9DC-3097-44BC-84D4-73B85CEB5AD8}">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dgm:t>
    </dgm:pt>
    <dgm:pt modelId="{F5D89BF0-17D8-44A5-BA06-5DED91DD8CC8}" type="parTrans" cxnId="{AF7BF292-2C27-461D-853B-8C4CA561F6AD}">
      <dgm:prSet/>
      <dgm:spPr/>
      <dgm:t>
        <a:bodyPr/>
        <a:lstStyle/>
        <a:p>
          <a:endParaRPr lang="en-GB"/>
        </a:p>
      </dgm:t>
    </dgm:pt>
    <dgm:pt modelId="{49003F09-2FDB-479F-BDDC-77A41BFD5C88}" type="sibTrans" cxnId="{AF7BF292-2C27-461D-853B-8C4CA561F6AD}">
      <dgm:prSet/>
      <dgm:spPr/>
      <dgm:t>
        <a:bodyPr/>
        <a:lstStyle/>
        <a:p>
          <a:endParaRPr lang="en-GB"/>
        </a:p>
      </dgm:t>
    </dgm:pt>
    <dgm:pt modelId="{893E7C06-D653-47A6-AE1C-68D245AF3E64}">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gm:t>
    </dgm:pt>
    <dgm:pt modelId="{3933C5AD-E0BA-4B92-AAA9-061A899CA552}" type="parTrans" cxnId="{B5363AA6-367E-4352-9210-91B6613AEB54}">
      <dgm:prSet/>
      <dgm:spPr/>
      <dgm:t>
        <a:bodyPr/>
        <a:lstStyle/>
        <a:p>
          <a:endParaRPr lang="en-GB"/>
        </a:p>
      </dgm:t>
    </dgm:pt>
    <dgm:pt modelId="{2CB8B4CF-883F-4D1D-926C-DAE94DA4D2AC}" type="sibTrans" cxnId="{B5363AA6-367E-4352-9210-91B6613AEB54}">
      <dgm:prSet/>
      <dgm:spPr/>
      <dgm:t>
        <a:bodyPr/>
        <a:lstStyle/>
        <a:p>
          <a:endParaRPr lang="en-GB"/>
        </a:p>
      </dgm:t>
    </dgm:pt>
    <dgm:pt modelId="{54C72AF5-701B-4378-8525-F1DF460F34ED}">
      <dgm:prSet custT="1"/>
      <dgm:spPr/>
      <dgm:t>
        <a:bodyPr/>
        <a:lstStyle/>
        <a:p>
          <a:pPr>
            <a:lnSpc>
              <a:spcPct val="150000"/>
            </a:lnSpc>
            <a:buFont typeface="Wingdings" panose="05000000000000000000" pitchFamily="2" charset="2"/>
            <a:buChar char="ü"/>
          </a:pPr>
          <a:r>
            <a:rPr lang="en-GB" sz="1100" dirty="0"/>
            <a:t>Types of Data</a:t>
          </a:r>
        </a:p>
      </dgm:t>
    </dgm:pt>
    <dgm:pt modelId="{5D5C2022-D69D-486A-9984-619FA0DA17BE}" type="parTrans" cxnId="{A9AB27D9-AB37-4556-8F6E-CCDE59F2CF86}">
      <dgm:prSet/>
      <dgm:spPr/>
      <dgm:t>
        <a:bodyPr/>
        <a:lstStyle/>
        <a:p>
          <a:endParaRPr lang="en-GB"/>
        </a:p>
      </dgm:t>
    </dgm:pt>
    <dgm:pt modelId="{8D515924-C436-4473-8074-31B0016C1AC1}" type="sibTrans" cxnId="{A9AB27D9-AB37-4556-8F6E-CCDE59F2CF86}">
      <dgm:prSet/>
      <dgm:spPr/>
      <dgm:t>
        <a:bodyPr/>
        <a:lstStyle/>
        <a:p>
          <a:endParaRPr lang="en-GB"/>
        </a:p>
      </dgm:t>
    </dgm:pt>
    <dgm:pt modelId="{3A49676A-F985-4612-8E3F-B09E7F5953A5}">
      <dgm:prSet custT="1"/>
      <dgm:spPr/>
      <dgm:t>
        <a:bodyPr/>
        <a:lstStyle/>
        <a:p>
          <a:pPr>
            <a:lnSpc>
              <a:spcPct val="150000"/>
            </a:lnSpc>
            <a:buFont typeface="Wingdings" panose="05000000000000000000" pitchFamily="2" charset="2"/>
            <a:buChar char="ü"/>
          </a:pPr>
          <a:r>
            <a:rPr lang="en-GB" sz="1100" dirty="0"/>
            <a:t>Common Data Service</a:t>
          </a:r>
        </a:p>
      </dgm:t>
    </dgm:pt>
    <dgm:pt modelId="{373F37CE-C981-4F7A-B1CC-0C2867E61ADA}" type="parTrans" cxnId="{1A79C8F4-053A-42E7-9A59-549B72D27189}">
      <dgm:prSet/>
      <dgm:spPr/>
      <dgm:t>
        <a:bodyPr/>
        <a:lstStyle/>
        <a:p>
          <a:endParaRPr lang="en-GB"/>
        </a:p>
      </dgm:t>
    </dgm:pt>
    <dgm:pt modelId="{0F4E1333-36B3-49FC-BCE9-7962A7ABD1D4}" type="sibTrans" cxnId="{1A79C8F4-053A-42E7-9A59-549B72D27189}">
      <dgm:prSet/>
      <dgm:spPr/>
      <dgm:t>
        <a:bodyPr/>
        <a:lstStyle/>
        <a:p>
          <a:endParaRPr lang="en-GB"/>
        </a:p>
      </dgm:t>
    </dgm:pt>
    <dgm:pt modelId="{7A35B426-1F7B-470E-83C9-8B734CBF59CF}">
      <dgm:prSet custT="1"/>
      <dgm:spPr/>
      <dgm:t>
        <a:bodyPr/>
        <a:lstStyle/>
        <a:p>
          <a:pPr>
            <a:lnSpc>
              <a:spcPct val="150000"/>
            </a:lnSpc>
            <a:buFont typeface="Wingdings" panose="05000000000000000000" pitchFamily="2" charset="2"/>
            <a:buChar char="ü"/>
          </a:pPr>
          <a:r>
            <a:rPr lang="en-GB" sz="1100" dirty="0"/>
            <a:t>Model-driven Apps</a:t>
          </a:r>
        </a:p>
      </dgm:t>
    </dgm:pt>
    <dgm:pt modelId="{4D6F01C8-1B7B-4631-8135-A5886B2B0D75}" type="parTrans" cxnId="{BFCC3057-757D-408F-B91D-CED24E8925F4}">
      <dgm:prSet/>
      <dgm:spPr/>
      <dgm:t>
        <a:bodyPr/>
        <a:lstStyle/>
        <a:p>
          <a:endParaRPr lang="en-GB"/>
        </a:p>
      </dgm:t>
    </dgm:pt>
    <dgm:pt modelId="{C1D13965-F077-4D0D-AF66-F16ABF1EB9AC}" type="sibTrans" cxnId="{BFCC3057-757D-408F-B91D-CED24E8925F4}">
      <dgm:prSet/>
      <dgm:spPr/>
      <dgm:t>
        <a:bodyPr/>
        <a:lstStyle/>
        <a:p>
          <a:endParaRPr lang="en-GB"/>
        </a:p>
      </dgm:t>
    </dgm:pt>
    <dgm:pt modelId="{0F8B0C98-A74B-4E44-B92F-2CAB105C195E}">
      <dgm:prSet custT="1"/>
      <dgm:spPr/>
      <dgm:t>
        <a:bodyPr/>
        <a:lstStyle/>
        <a:p>
          <a:pPr>
            <a:lnSpc>
              <a:spcPct val="150000"/>
            </a:lnSpc>
            <a:buFont typeface="Wingdings" panose="05000000000000000000" pitchFamily="2" charset="2"/>
            <a:buChar char="ü"/>
          </a:pPr>
          <a:r>
            <a:rPr lang="en-US" sz="1100" dirty="0"/>
            <a:t>What type of components can I add?</a:t>
          </a:r>
          <a:endParaRPr lang="en-GB" sz="1100" dirty="0"/>
        </a:p>
      </dgm:t>
    </dgm:pt>
    <dgm:pt modelId="{75ADCC08-01ED-4D06-A1CC-F0123111E0EE}" type="parTrans" cxnId="{E2FE5168-614E-4332-9434-C2A45F9788E4}">
      <dgm:prSet/>
      <dgm:spPr/>
      <dgm:t>
        <a:bodyPr/>
        <a:lstStyle/>
        <a:p>
          <a:endParaRPr lang="en-GB"/>
        </a:p>
      </dgm:t>
    </dgm:pt>
    <dgm:pt modelId="{5D083F13-5804-4978-8269-5CEC2CDF2CEE}" type="sibTrans" cxnId="{E2FE5168-614E-4332-9434-C2A45F9788E4}">
      <dgm:prSet/>
      <dgm:spPr/>
      <dgm:t>
        <a:bodyPr/>
        <a:lstStyle/>
        <a:p>
          <a:endParaRPr lang="en-GB"/>
        </a:p>
      </dgm:t>
    </dgm:pt>
    <dgm:pt modelId="{ACC56B55-B54D-4F97-A978-D694743ADE3E}">
      <dgm:prSet custT="1"/>
      <dgm:spPr/>
      <dgm:t>
        <a:bodyPr/>
        <a:lstStyle/>
        <a:p>
          <a:pPr>
            <a:lnSpc>
              <a:spcPct val="150000"/>
            </a:lnSpc>
            <a:buFont typeface="Wingdings" panose="05000000000000000000" pitchFamily="2" charset="2"/>
            <a:buChar char="ü"/>
          </a:pPr>
          <a:r>
            <a:rPr lang="en-GB" sz="1100" dirty="0"/>
            <a:t>Data model design</a:t>
          </a:r>
        </a:p>
      </dgm:t>
    </dgm:pt>
    <dgm:pt modelId="{272886AB-B1F7-4E40-90B4-C7960DBE4BC6}" type="parTrans" cxnId="{82BD830C-0890-4944-9670-1030FAFDAD36}">
      <dgm:prSet/>
      <dgm:spPr/>
      <dgm:t>
        <a:bodyPr/>
        <a:lstStyle/>
        <a:p>
          <a:endParaRPr lang="en-GB"/>
        </a:p>
      </dgm:t>
    </dgm:pt>
    <dgm:pt modelId="{88310FBB-C995-488E-B9E4-06601E9529A4}" type="sibTrans" cxnId="{82BD830C-0890-4944-9670-1030FAFDAD36}">
      <dgm:prSet/>
      <dgm:spPr/>
      <dgm:t>
        <a:bodyPr/>
        <a:lstStyle/>
        <a:p>
          <a:endParaRPr lang="en-GB"/>
        </a:p>
      </dgm:t>
    </dgm:pt>
    <dgm:pt modelId="{722059E4-A748-4A8B-8781-AB6D2D353394}">
      <dgm:prSet custT="1"/>
      <dgm:spPr/>
      <dgm:t>
        <a:bodyPr/>
        <a:lstStyle/>
        <a:p>
          <a:pPr>
            <a:lnSpc>
              <a:spcPct val="150000"/>
            </a:lnSpc>
            <a:buFont typeface="Wingdings" panose="05000000000000000000" pitchFamily="2" charset="2"/>
            <a:buChar char="ü"/>
          </a:pPr>
          <a:r>
            <a:rPr lang="en-GB" sz="1100" dirty="0"/>
            <a:t>Demo</a:t>
          </a:r>
        </a:p>
      </dgm:t>
    </dgm:pt>
    <dgm:pt modelId="{E0F69483-11ED-4B91-9141-56F9A481AC2E}" type="parTrans" cxnId="{70EFA57B-C632-41A4-8FD1-52474CE9C91B}">
      <dgm:prSet/>
      <dgm:spPr/>
      <dgm:t>
        <a:bodyPr/>
        <a:lstStyle/>
        <a:p>
          <a:endParaRPr lang="en-GB"/>
        </a:p>
      </dgm:t>
    </dgm:pt>
    <dgm:pt modelId="{BF0F9C3A-7161-435E-B116-A646B86BE65D}" type="sibTrans" cxnId="{70EFA57B-C632-41A4-8FD1-52474CE9C91B}">
      <dgm:prSet/>
      <dgm:spPr/>
      <dgm:t>
        <a:bodyPr/>
        <a:lstStyle/>
        <a:p>
          <a:endParaRPr lang="en-GB"/>
        </a:p>
      </dgm:t>
    </dgm:pt>
    <dgm:pt modelId="{CA39C776-1E27-4904-8DB3-2D5DD7EBBFFA}">
      <dgm:prSet custT="1"/>
      <dgm:spPr/>
      <dgm:t>
        <a:bodyPr/>
        <a:lstStyle/>
        <a:p>
          <a:pPr>
            <a:lnSpc>
              <a:spcPct val="150000"/>
            </a:lnSpc>
            <a:buFont typeface="Wingdings" panose="05000000000000000000" pitchFamily="2" charset="2"/>
            <a:buChar char="ü"/>
          </a:pPr>
          <a:r>
            <a:rPr lang="en-GB" sz="1100" dirty="0"/>
            <a:t>Types of flow</a:t>
          </a:r>
        </a:p>
      </dgm:t>
    </dgm:pt>
    <dgm:pt modelId="{9C148EF5-537F-4960-9314-AAD245B07C3D}" type="parTrans" cxnId="{93471932-2A34-4FFA-8040-DA64249AFE39}">
      <dgm:prSet/>
      <dgm:spPr/>
      <dgm:t>
        <a:bodyPr/>
        <a:lstStyle/>
        <a:p>
          <a:endParaRPr lang="en-GB"/>
        </a:p>
      </dgm:t>
    </dgm:pt>
    <dgm:pt modelId="{3F1D3250-0E7C-4F77-8EED-C20DDC838F8B}" type="sibTrans" cxnId="{93471932-2A34-4FFA-8040-DA64249AFE39}">
      <dgm:prSet/>
      <dgm:spPr/>
      <dgm:t>
        <a:bodyPr/>
        <a:lstStyle/>
        <a:p>
          <a:endParaRPr lang="en-GB"/>
        </a:p>
      </dgm:t>
    </dgm:pt>
    <dgm:pt modelId="{ACF45D7E-EB1D-4123-9D63-5147010D7F29}">
      <dgm:prSet custT="1"/>
      <dgm:spPr/>
      <dgm:t>
        <a:bodyPr/>
        <a:lstStyle/>
        <a:p>
          <a:pPr>
            <a:lnSpc>
              <a:spcPct val="150000"/>
            </a:lnSpc>
            <a:buFont typeface="Wingdings" panose="05000000000000000000" pitchFamily="2" charset="2"/>
            <a:buChar char="ü"/>
          </a:pPr>
          <a:r>
            <a:rPr lang="en-GB" sz="1100" dirty="0"/>
            <a:t>Data types and expression</a:t>
          </a:r>
        </a:p>
      </dgm:t>
    </dgm:pt>
    <dgm:pt modelId="{33ACDDAE-76C8-4C30-BF80-07F97DBB8120}" type="parTrans" cxnId="{389F8231-A005-4059-8AFB-6DAFB98A445F}">
      <dgm:prSet/>
      <dgm:spPr/>
      <dgm:t>
        <a:bodyPr/>
        <a:lstStyle/>
        <a:p>
          <a:endParaRPr lang="en-GB"/>
        </a:p>
      </dgm:t>
    </dgm:pt>
    <dgm:pt modelId="{9213C03E-45C7-45C9-8C29-4213FA7D41B9}" type="sibTrans" cxnId="{389F8231-A005-4059-8AFB-6DAFB98A445F}">
      <dgm:prSet/>
      <dgm:spPr/>
      <dgm:t>
        <a:bodyPr/>
        <a:lstStyle/>
        <a:p>
          <a:endParaRPr lang="en-GB"/>
        </a:p>
      </dgm:t>
    </dgm:pt>
    <dgm:pt modelId="{401F0372-7C1A-47C1-ADD7-711995422879}">
      <dgm:prSet custT="1"/>
      <dgm:spPr/>
      <dgm:t>
        <a:bodyPr/>
        <a:lstStyle/>
        <a:p>
          <a:pPr>
            <a:lnSpc>
              <a:spcPct val="150000"/>
            </a:lnSpc>
            <a:buFont typeface="Wingdings" panose="05000000000000000000" pitchFamily="2" charset="2"/>
            <a:buChar char="ü"/>
          </a:pPr>
          <a:r>
            <a:rPr lang="en-GB" sz="1100" dirty="0"/>
            <a:t>Working with Arrays</a:t>
          </a:r>
        </a:p>
      </dgm:t>
    </dgm:pt>
    <dgm:pt modelId="{FA7CC548-1847-4128-BA6E-3149BCFABE1E}" type="parTrans" cxnId="{ED84E10E-4758-4D92-A8D4-883E33538944}">
      <dgm:prSet/>
      <dgm:spPr/>
      <dgm:t>
        <a:bodyPr/>
        <a:lstStyle/>
        <a:p>
          <a:endParaRPr lang="en-GB"/>
        </a:p>
      </dgm:t>
    </dgm:pt>
    <dgm:pt modelId="{0F96B1C2-B14D-48B3-9213-F2B58460E366}" type="sibTrans" cxnId="{ED84E10E-4758-4D92-A8D4-883E33538944}">
      <dgm:prSet/>
      <dgm:spPr/>
      <dgm:t>
        <a:bodyPr/>
        <a:lstStyle/>
        <a:p>
          <a:endParaRPr lang="en-GB"/>
        </a:p>
      </dgm:t>
    </dgm:pt>
    <dgm:pt modelId="{B9E04480-191E-4EE4-B47A-C7D607722DD4}">
      <dgm:prSet custT="1"/>
      <dgm:spPr/>
      <dgm:t>
        <a:bodyPr/>
        <a:lstStyle/>
        <a:p>
          <a:pPr>
            <a:lnSpc>
              <a:spcPct val="150000"/>
            </a:lnSpc>
            <a:buFont typeface="Wingdings" panose="05000000000000000000" pitchFamily="2" charset="2"/>
            <a:buChar char="ü"/>
          </a:pPr>
          <a:r>
            <a:rPr lang="en-US" sz="1100" dirty="0"/>
            <a:t>Control flow and action settings</a:t>
          </a:r>
          <a:endParaRPr lang="en-GB" sz="1100" dirty="0"/>
        </a:p>
      </dgm:t>
    </dgm:pt>
    <dgm:pt modelId="{BAA74BFC-6D7F-4481-B325-0A977FA4DEB0}" type="parTrans" cxnId="{56200E4F-CCD6-4F7B-857D-4C07847374F7}">
      <dgm:prSet/>
      <dgm:spPr/>
      <dgm:t>
        <a:bodyPr/>
        <a:lstStyle/>
        <a:p>
          <a:endParaRPr lang="en-GB"/>
        </a:p>
      </dgm:t>
    </dgm:pt>
    <dgm:pt modelId="{62E32415-EA97-4C50-B59F-BA185762F1ED}" type="sibTrans" cxnId="{56200E4F-CCD6-4F7B-857D-4C07847374F7}">
      <dgm:prSet/>
      <dgm:spPr/>
      <dgm:t>
        <a:bodyPr/>
        <a:lstStyle/>
        <a:p>
          <a:endParaRPr lang="en-GB"/>
        </a:p>
      </dgm:t>
    </dgm:pt>
    <dgm:pt modelId="{C657AF91-1E17-40EF-9890-50B43ED87700}">
      <dgm:prSet custT="1"/>
      <dgm:spPr/>
      <dgm:t>
        <a:bodyPr/>
        <a:lstStyle/>
        <a:p>
          <a:pPr>
            <a:lnSpc>
              <a:spcPct val="150000"/>
            </a:lnSpc>
            <a:buFont typeface="Wingdings" panose="05000000000000000000" pitchFamily="2" charset="2"/>
            <a:buChar char="ü"/>
          </a:pPr>
          <a:r>
            <a:rPr lang="en-GB" sz="1100" dirty="0"/>
            <a:t>Demo</a:t>
          </a:r>
        </a:p>
      </dgm:t>
    </dgm:pt>
    <dgm:pt modelId="{55676C19-027A-4706-9920-9F38CB78BB55}" type="parTrans" cxnId="{3E422639-45BD-4ECC-8D61-FEA975A3F6A7}">
      <dgm:prSet/>
      <dgm:spPr/>
      <dgm:t>
        <a:bodyPr/>
        <a:lstStyle/>
        <a:p>
          <a:endParaRPr lang="en-GB"/>
        </a:p>
      </dgm:t>
    </dgm:pt>
    <dgm:pt modelId="{BE406468-ACD9-48DC-8128-CF031B39F537}" type="sibTrans" cxnId="{3E422639-45BD-4ECC-8D61-FEA975A3F6A7}">
      <dgm:prSet/>
      <dgm:spPr/>
      <dgm:t>
        <a:bodyPr/>
        <a:lstStyle/>
        <a:p>
          <a:endParaRPr lang="en-GB"/>
        </a:p>
      </dgm:t>
    </dgm:pt>
    <dgm:pt modelId="{1144DE18-D484-4BAD-9BCD-C2A895778177}">
      <dgm:prSet custT="1"/>
      <dgm:spPr/>
      <dgm:t>
        <a:bodyPr/>
        <a:lstStyle/>
        <a:p>
          <a:pPr>
            <a:lnSpc>
              <a:spcPct val="150000"/>
            </a:lnSpc>
            <a:buFont typeface="Wingdings" panose="05000000000000000000" pitchFamily="2" charset="2"/>
            <a:buChar char="ü"/>
          </a:pPr>
          <a:r>
            <a:rPr lang="en-US" sz="1100" dirty="0"/>
            <a:t>A Robust Virtual Agent Platform</a:t>
          </a:r>
          <a:endParaRPr lang="en-GB" sz="1100" dirty="0"/>
        </a:p>
      </dgm:t>
    </dgm:pt>
    <dgm:pt modelId="{9AA8132E-8CDA-4B15-A603-A6896F9F03B5}" type="parTrans" cxnId="{6EEA13DD-BDFC-480B-986D-C0DA4A14A9A5}">
      <dgm:prSet/>
      <dgm:spPr/>
      <dgm:t>
        <a:bodyPr/>
        <a:lstStyle/>
        <a:p>
          <a:endParaRPr lang="en-GB"/>
        </a:p>
      </dgm:t>
    </dgm:pt>
    <dgm:pt modelId="{F46E2948-5B5B-4C02-B9BF-46504DD0308B}" type="sibTrans" cxnId="{6EEA13DD-BDFC-480B-986D-C0DA4A14A9A5}">
      <dgm:prSet/>
      <dgm:spPr/>
      <dgm:t>
        <a:bodyPr/>
        <a:lstStyle/>
        <a:p>
          <a:endParaRPr lang="en-GB"/>
        </a:p>
      </dgm:t>
    </dgm:pt>
    <dgm:pt modelId="{18F0B681-B9EA-4FB0-9513-5822E4463EBD}">
      <dgm:prSet custT="1"/>
      <dgm:spPr/>
      <dgm:t>
        <a:bodyPr/>
        <a:lstStyle/>
        <a:p>
          <a:pPr>
            <a:lnSpc>
              <a:spcPct val="150000"/>
            </a:lnSpc>
            <a:buFont typeface="Wingdings" panose="05000000000000000000" pitchFamily="2" charset="2"/>
            <a:buChar char="ü"/>
          </a:pPr>
          <a:r>
            <a:rPr lang="en-GB" sz="1100" dirty="0"/>
            <a:t>Converse everywhere</a:t>
          </a:r>
        </a:p>
      </dgm:t>
    </dgm:pt>
    <dgm:pt modelId="{8C88E6FE-C5AD-4CAF-AE8C-CCF25063B973}" type="parTrans" cxnId="{33216F7E-EB20-40E4-80B2-230741B9066C}">
      <dgm:prSet/>
      <dgm:spPr/>
      <dgm:t>
        <a:bodyPr/>
        <a:lstStyle/>
        <a:p>
          <a:endParaRPr lang="en-GB"/>
        </a:p>
      </dgm:t>
    </dgm:pt>
    <dgm:pt modelId="{47555A9B-AE81-4212-AC0C-7EE78B56AAF0}" type="sibTrans" cxnId="{33216F7E-EB20-40E4-80B2-230741B9066C}">
      <dgm:prSet/>
      <dgm:spPr/>
      <dgm:t>
        <a:bodyPr/>
        <a:lstStyle/>
        <a:p>
          <a:endParaRPr lang="en-GB"/>
        </a:p>
      </dgm:t>
    </dgm:pt>
    <dgm:pt modelId="{5D035B97-44EF-4AEA-8EA9-786BFFB57C24}">
      <dgm:prSet custT="1"/>
      <dgm:spPr/>
      <dgm:t>
        <a:bodyPr/>
        <a:lstStyle/>
        <a:p>
          <a:pPr>
            <a:lnSpc>
              <a:spcPct val="150000"/>
            </a:lnSpc>
            <a:buFont typeface="Wingdings" panose="05000000000000000000" pitchFamily="2" charset="2"/>
            <a:buChar char="ü"/>
          </a:pPr>
          <a:r>
            <a:rPr lang="en-US" sz="1100" dirty="0"/>
            <a:t>Easily make your bots better</a:t>
          </a:r>
          <a:endParaRPr lang="en-GB" sz="1100" dirty="0"/>
        </a:p>
      </dgm:t>
    </dgm:pt>
    <dgm:pt modelId="{F391588B-CA74-4C9D-A172-969FAD9EC2C7}" type="parTrans" cxnId="{28247E90-1B6F-4B60-81B0-69A13C78E8E6}">
      <dgm:prSet/>
      <dgm:spPr/>
      <dgm:t>
        <a:bodyPr/>
        <a:lstStyle/>
        <a:p>
          <a:endParaRPr lang="en-GB"/>
        </a:p>
      </dgm:t>
    </dgm:pt>
    <dgm:pt modelId="{526DFEE8-A2CC-451F-96A0-8BD0290E9072}" type="sibTrans" cxnId="{28247E90-1B6F-4B60-81B0-69A13C78E8E6}">
      <dgm:prSet/>
      <dgm:spPr/>
      <dgm:t>
        <a:bodyPr/>
        <a:lstStyle/>
        <a:p>
          <a:endParaRPr lang="en-GB"/>
        </a:p>
      </dgm:t>
    </dgm:pt>
    <dgm:pt modelId="{2D85A258-BD61-47B2-9E3B-C776B166BC78}">
      <dgm:prSet custT="1"/>
      <dgm:spPr/>
      <dgm:t>
        <a:bodyPr/>
        <a:lstStyle/>
        <a:p>
          <a:pPr>
            <a:lnSpc>
              <a:spcPct val="150000"/>
            </a:lnSpc>
            <a:buFont typeface="Wingdings" panose="05000000000000000000" pitchFamily="2" charset="2"/>
            <a:buChar char="ü"/>
          </a:pPr>
          <a:r>
            <a:rPr lang="en-GB" sz="1100" dirty="0"/>
            <a:t>Create personalized customer experiences</a:t>
          </a:r>
        </a:p>
      </dgm:t>
    </dgm:pt>
    <dgm:pt modelId="{3D209DB1-1815-42D9-B095-BA67D5DBDE30}" type="parTrans" cxnId="{92AC3946-CDA3-4501-91BD-9B25261E4187}">
      <dgm:prSet/>
      <dgm:spPr/>
      <dgm:t>
        <a:bodyPr/>
        <a:lstStyle/>
        <a:p>
          <a:endParaRPr lang="en-GB"/>
        </a:p>
      </dgm:t>
    </dgm:pt>
    <dgm:pt modelId="{B9237FBB-FC76-46CF-89AD-113695AA5104}" type="sibTrans" cxnId="{92AC3946-CDA3-4501-91BD-9B25261E4187}">
      <dgm:prSet/>
      <dgm:spPr/>
      <dgm:t>
        <a:bodyPr/>
        <a:lstStyle/>
        <a:p>
          <a:endParaRPr lang="en-GB"/>
        </a:p>
      </dgm:t>
    </dgm:pt>
    <dgm:pt modelId="{5951F983-4936-4025-8BA3-AA9A370B681C}">
      <dgm:prSet custT="1"/>
      <dgm:spPr/>
      <dgm:t>
        <a:bodyPr/>
        <a:lstStyle/>
        <a:p>
          <a:pPr>
            <a:lnSpc>
              <a:spcPct val="150000"/>
            </a:lnSpc>
            <a:buFont typeface="Wingdings" panose="05000000000000000000" pitchFamily="2" charset="2"/>
            <a:buChar char="ü"/>
          </a:pPr>
          <a:r>
            <a:rPr lang="en-US" sz="1100" dirty="0"/>
            <a:t>Transfer to a human agent</a:t>
          </a:r>
          <a:endParaRPr lang="en-GB" sz="1100" dirty="0"/>
        </a:p>
      </dgm:t>
    </dgm:pt>
    <dgm:pt modelId="{3846E38C-ECBD-4663-BCDF-8DABCB67D5A0}" type="parTrans" cxnId="{02EC88E5-EB7E-4B62-AACE-1DF534D5C0EB}">
      <dgm:prSet/>
      <dgm:spPr/>
      <dgm:t>
        <a:bodyPr/>
        <a:lstStyle/>
        <a:p>
          <a:endParaRPr lang="en-GB"/>
        </a:p>
      </dgm:t>
    </dgm:pt>
    <dgm:pt modelId="{08745901-2176-4099-9C90-0DEE84390506}" type="sibTrans" cxnId="{02EC88E5-EB7E-4B62-AACE-1DF534D5C0EB}">
      <dgm:prSet/>
      <dgm:spPr/>
      <dgm:t>
        <a:bodyPr/>
        <a:lstStyle/>
        <a:p>
          <a:endParaRPr lang="en-GB"/>
        </a:p>
      </dgm:t>
    </dgm:pt>
    <dgm:pt modelId="{78CACE34-8D6E-4E2A-8E77-8E06AAA6CB14}">
      <dgm:prSet custT="1"/>
      <dgm:spPr/>
      <dgm:t>
        <a:bodyPr/>
        <a:lstStyle/>
        <a:p>
          <a:pPr>
            <a:lnSpc>
              <a:spcPct val="150000"/>
            </a:lnSpc>
            <a:buFont typeface="Wingdings" panose="05000000000000000000" pitchFamily="2" charset="2"/>
            <a:buChar char="ü"/>
          </a:pPr>
          <a:r>
            <a:rPr lang="en-US" sz="1100" dirty="0"/>
            <a:t>Built on Power Platform &amp; Azure Bot Service</a:t>
          </a:r>
          <a:endParaRPr lang="en-GB" sz="1100" dirty="0"/>
        </a:p>
      </dgm:t>
    </dgm:pt>
    <dgm:pt modelId="{9F75D9EC-E99F-47C7-BA88-CE4A339E8CC1}" type="parTrans" cxnId="{6F9E7FEA-56DB-4D6C-AD27-F013E8B6B142}">
      <dgm:prSet/>
      <dgm:spPr/>
      <dgm:t>
        <a:bodyPr/>
        <a:lstStyle/>
        <a:p>
          <a:endParaRPr lang="en-GB"/>
        </a:p>
      </dgm:t>
    </dgm:pt>
    <dgm:pt modelId="{D260C768-9DF7-4422-A501-CB3985EE8400}" type="sibTrans" cxnId="{6F9E7FEA-56DB-4D6C-AD27-F013E8B6B142}">
      <dgm:prSet/>
      <dgm:spPr/>
      <dgm:t>
        <a:bodyPr/>
        <a:lstStyle/>
        <a:p>
          <a:endParaRPr lang="en-GB"/>
        </a:p>
      </dgm:t>
    </dgm:pt>
    <dgm:pt modelId="{71A8E9CD-2FD9-484D-8E2E-83FD61244E59}">
      <dgm:prSet custT="1"/>
      <dgm:spPr/>
      <dgm:t>
        <a:bodyPr/>
        <a:lstStyle/>
        <a:p>
          <a:pPr>
            <a:lnSpc>
              <a:spcPct val="150000"/>
            </a:lnSpc>
            <a:buFont typeface="Wingdings" panose="05000000000000000000" pitchFamily="2" charset="2"/>
            <a:buChar char="ü"/>
          </a:pPr>
          <a:r>
            <a:rPr lang="en-US" sz="1100" dirty="0"/>
            <a:t>Extend your bot capabilities with Azure Bot Service</a:t>
          </a:r>
          <a:endParaRPr lang="en-GB" sz="1100" dirty="0"/>
        </a:p>
      </dgm:t>
    </dgm:pt>
    <dgm:pt modelId="{EA76026B-D568-4469-9D12-1DAB0B730210}" type="parTrans" cxnId="{C6CB7689-D342-4378-94C3-275D81270470}">
      <dgm:prSet/>
      <dgm:spPr/>
      <dgm:t>
        <a:bodyPr/>
        <a:lstStyle/>
        <a:p>
          <a:endParaRPr lang="en-GB"/>
        </a:p>
      </dgm:t>
    </dgm:pt>
    <dgm:pt modelId="{13BB9266-425F-47F3-A935-7B8C5621597D}" type="sibTrans" cxnId="{C6CB7689-D342-4378-94C3-275D81270470}">
      <dgm:prSet/>
      <dgm:spPr/>
      <dgm:t>
        <a:bodyPr/>
        <a:lstStyle/>
        <a:p>
          <a:endParaRPr lang="en-GB"/>
        </a:p>
      </dgm:t>
    </dgm:pt>
    <dgm:pt modelId="{BD772AA2-0057-48EB-841D-9BC045512D38}">
      <dgm:prSet custT="1"/>
      <dgm:spPr/>
      <dgm:t>
        <a:bodyPr/>
        <a:lstStyle/>
        <a:p>
          <a:pPr>
            <a:lnSpc>
              <a:spcPct val="150000"/>
            </a:lnSpc>
            <a:buFont typeface="Wingdings" panose="05000000000000000000" pitchFamily="2" charset="2"/>
            <a:buChar char="ü"/>
          </a:pPr>
          <a:r>
            <a:rPr lang="en-GB" sz="1100" dirty="0"/>
            <a:t>Demo</a:t>
          </a:r>
        </a:p>
      </dgm:t>
    </dgm:pt>
    <dgm:pt modelId="{4B311D96-8E7F-4F2D-A0B9-EC6CDE961B16}" type="parTrans" cxnId="{81B594E4-E77F-43CE-8D05-73975001A173}">
      <dgm:prSet/>
      <dgm:spPr/>
      <dgm:t>
        <a:bodyPr/>
        <a:lstStyle/>
        <a:p>
          <a:endParaRPr lang="en-GB"/>
        </a:p>
      </dgm:t>
    </dgm:pt>
    <dgm:pt modelId="{4814EA35-3EB9-4A2D-B0F9-028471BDED58}" type="sibTrans" cxnId="{81B594E4-E77F-43CE-8D05-73975001A173}">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77F1DE0B-593D-46F9-9A6C-3926F96637F8}" type="presOf" srcId="{54C72AF5-701B-4378-8525-F1DF460F34ED}" destId="{FE6D297C-C9E0-4A7D-A12A-BA53DEE78AEC}" srcOrd="0" destOrd="1" presId="urn:microsoft.com/office/officeart/2005/8/layout/hList1"/>
    <dgm:cxn modelId="{82BD830C-0890-4944-9670-1030FAFDAD36}" srcId="{AA0CC1A4-89B3-4AA2-AE39-4C1399639CA2}" destId="{ACC56B55-B54D-4F97-A978-D694743ADE3E}" srcOrd="5" destOrd="0" parTransId="{272886AB-B1F7-4E40-90B4-C7960DBE4BC6}" sibTransId="{88310FBB-C995-488E-B9E4-06601E9529A4}"/>
    <dgm:cxn modelId="{E3ED610E-D840-4A47-82CA-1963CEA02A3D}" srcId="{AC11CA59-F486-473C-AE1A-BD3E159BD48A}" destId="{DF86A6E5-580E-4F2A-B223-B458E5A97CE4}" srcOrd="4" destOrd="0" parTransId="{A3F965A0-4DFA-4DB1-BF22-9BD549EB3157}" sibTransId="{A2239809-CB4C-48EC-8779-BE5C55EB41C1}"/>
    <dgm:cxn modelId="{ED84E10E-4758-4D92-A8D4-883E33538944}" srcId="{639BF8EA-4D33-4B30-911B-6776BADCAC46}" destId="{401F0372-7C1A-47C1-ADD7-711995422879}" srcOrd="3" destOrd="0" parTransId="{FA7CC548-1847-4128-BA6E-3149BCFABE1E}" sibTransId="{0F96B1C2-B14D-48B3-9213-F2B58460E366}"/>
    <dgm:cxn modelId="{E455D314-3C2C-445D-8605-B78D41BFD70B}" type="presOf" srcId="{FC2E9FD0-AD1A-4E81-8CE8-F5387731ACC5}" destId="{6BCC47BA-0C21-4EC9-8F7B-D9BCA5C8EC21}" srcOrd="0" destOrd="0" presId="urn:microsoft.com/office/officeart/2005/8/layout/hList1"/>
    <dgm:cxn modelId="{37581F1C-5334-445E-829C-72AF65A4BDB2}" type="presOf" srcId="{AA0CC1A4-89B3-4AA2-AE39-4C1399639CA2}" destId="{6D51457A-C3C5-41AF-B616-CDB4705EBFBD}" srcOrd="0" destOrd="0" presId="urn:microsoft.com/office/officeart/2005/8/layout/hList1"/>
    <dgm:cxn modelId="{CE4D4D1E-7755-456F-BC4E-8D9B3E3BB04A}" srcId="{5D730ECF-5E56-4BCC-9295-01AA7310EDA9}" destId="{DDB2D429-A54B-474B-9DCF-A0E6B52D46DA}" srcOrd="4" destOrd="0" parTransId="{B3BE7EFD-D6E0-4FFE-9245-9412FF200740}" sibTransId="{08ECC846-92B0-466D-8FBC-C4D6AC294A79}"/>
    <dgm:cxn modelId="{EF36FC1E-4365-425E-BD5B-9EA542F2C980}" type="presOf" srcId="{1144DE18-D484-4BAD-9BCD-C2A895778177}" destId="{6BCC47BA-0C21-4EC9-8F7B-D9BCA5C8EC21}" srcOrd="0" destOrd="1" presId="urn:microsoft.com/office/officeart/2005/8/layout/hList1"/>
    <dgm:cxn modelId="{803A602C-5B01-40EC-BFAD-279105D23941}" type="presOf" srcId="{0CF6FF1F-C08F-4FC3-A083-8DE69E9808EC}" destId="{F9540AD5-4F34-4720-A853-23023519F2F5}" srcOrd="0" destOrd="4" presId="urn:microsoft.com/office/officeart/2005/8/layout/hList1"/>
    <dgm:cxn modelId="{389F8231-A005-4059-8AFB-6DAFB98A445F}" srcId="{639BF8EA-4D33-4B30-911B-6776BADCAC46}" destId="{ACF45D7E-EB1D-4123-9D63-5147010D7F29}" srcOrd="2" destOrd="0" parTransId="{33ACDDAE-76C8-4C30-BF80-07F97DBB8120}" sibTransId="{9213C03E-45C7-45C9-8C29-4213FA7D41B9}"/>
    <dgm:cxn modelId="{93471932-2A34-4FFA-8040-DA64249AFE39}" srcId="{639BF8EA-4D33-4B30-911B-6776BADCAC46}" destId="{CA39C776-1E27-4904-8DB3-2D5DD7EBBFFA}" srcOrd="1" destOrd="0" parTransId="{9C148EF5-537F-4960-9314-AAD245B07C3D}" sibTransId="{3F1D3250-0E7C-4F77-8EED-C20DDC838F8B}"/>
    <dgm:cxn modelId="{3E422639-45BD-4ECC-8D61-FEA975A3F6A7}" srcId="{639BF8EA-4D33-4B30-911B-6776BADCAC46}" destId="{C657AF91-1E17-40EF-9890-50B43ED87700}" srcOrd="5" destOrd="0" parTransId="{55676C19-027A-4706-9920-9F38CB78BB55}" sibTransId="{BE406468-ACD9-48DC-8128-CF031B39F537}"/>
    <dgm:cxn modelId="{55754E5C-3147-44A5-89C7-7517FAF11EB9}" type="presOf" srcId="{ACF45D7E-EB1D-4123-9D63-5147010D7F29}" destId="{569DA3D3-C2E5-4089-A6F0-CF7A0DE5293E}" srcOrd="0" destOrd="2" presId="urn:microsoft.com/office/officeart/2005/8/layout/hList1"/>
    <dgm:cxn modelId="{227F285F-07B4-4102-AA0F-9D3E0C5486BE}" type="presOf" srcId="{733AC198-8C9A-4B42-9E53-02CEB15F3C9F}" destId="{CD66AAD5-A74B-4989-8AD5-348B79FA87C7}" srcOrd="0" destOrd="3" presId="urn:microsoft.com/office/officeart/2005/8/layout/hList1"/>
    <dgm:cxn modelId="{3D59E865-B3CD-4FB1-87EE-B17547F900D0}" type="presOf" srcId="{C657AF91-1E17-40EF-9890-50B43ED87700}" destId="{569DA3D3-C2E5-4089-A6F0-CF7A0DE5293E}" srcOrd="0" destOrd="5" presId="urn:microsoft.com/office/officeart/2005/8/layout/hList1"/>
    <dgm:cxn modelId="{92AC3946-CDA3-4501-91BD-9B25261E4187}" srcId="{DF86A6E5-580E-4F2A-B223-B458E5A97CE4}" destId="{2D85A258-BD61-47B2-9E3B-C776B166BC78}" srcOrd="4" destOrd="0" parTransId="{3D209DB1-1815-42D9-B095-BA67D5DBDE30}" sibTransId="{B9237FBB-FC76-46CF-89AD-113695AA5104}"/>
    <dgm:cxn modelId="{E2FE5168-614E-4332-9434-C2A45F9788E4}" srcId="{AA0CC1A4-89B3-4AA2-AE39-4C1399639CA2}" destId="{0F8B0C98-A74B-4E44-B92F-2CAB105C195E}" srcOrd="4" destOrd="0" parTransId="{75ADCC08-01ED-4D06-A1CC-F0123111E0EE}" sibTransId="{5D083F13-5804-4978-8269-5CEC2CDF2CEE}"/>
    <dgm:cxn modelId="{F37D8A48-094D-4291-8663-3219EE933036}" type="presOf" srcId="{630C8C32-A979-40C7-BDD7-71A76577670D}" destId="{F9540AD5-4F34-4720-A853-23023519F2F5}" srcOrd="0" destOrd="0"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56200E4F-CCD6-4F7B-857D-4C07847374F7}" srcId="{639BF8EA-4D33-4B30-911B-6776BADCAC46}" destId="{B9E04480-191E-4EE4-B47A-C7D607722DD4}" srcOrd="4" destOrd="0" parTransId="{BAA74BFC-6D7F-4481-B325-0A977FA4DEB0}" sibTransId="{62E32415-EA97-4C50-B59F-BA185762F1ED}"/>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BFCC3057-757D-408F-B91D-CED24E8925F4}" srcId="{AA0CC1A4-89B3-4AA2-AE39-4C1399639CA2}" destId="{7A35B426-1F7B-470E-83C9-8B734CBF59CF}" srcOrd="3" destOrd="0" parTransId="{4D6F01C8-1B7B-4631-8135-A5886B2B0D75}" sibTransId="{C1D13965-F077-4D0D-AF66-F16ABF1EB9AC}"/>
    <dgm:cxn modelId="{9426DF58-2E78-4D03-BF93-B143EBABEBAC}" type="presOf" srcId="{CA39C776-1E27-4904-8DB3-2D5DD7EBBFFA}" destId="{569DA3D3-C2E5-4089-A6F0-CF7A0DE5293E}" srcOrd="0" destOrd="1" presId="urn:microsoft.com/office/officeart/2005/8/layout/hList1"/>
    <dgm:cxn modelId="{AC329C7B-D329-46C2-8857-FF06C5AAD371}" type="presOf" srcId="{5D035B97-44EF-4AEA-8EA9-786BFFB57C24}" destId="{6BCC47BA-0C21-4EC9-8F7B-D9BCA5C8EC21}" srcOrd="0" destOrd="3" presId="urn:microsoft.com/office/officeart/2005/8/layout/hList1"/>
    <dgm:cxn modelId="{70EFA57B-C632-41A4-8FD1-52474CE9C91B}" srcId="{AA0CC1A4-89B3-4AA2-AE39-4C1399639CA2}" destId="{722059E4-A748-4A8B-8781-AB6D2D353394}" srcOrd="6" destOrd="0" parTransId="{E0F69483-11ED-4B91-9141-56F9A481AC2E}" sibTransId="{BF0F9C3A-7161-435E-B116-A646B86BE65D}"/>
    <dgm:cxn modelId="{F856FA7B-3279-4151-88C6-FC89EF00CA04}" srcId="{AC11CA59-F486-473C-AE1A-BD3E159BD48A}" destId="{AA0CC1A4-89B3-4AA2-AE39-4C1399639CA2}" srcOrd="2" destOrd="0" parTransId="{C0AF6D3B-B26B-43D4-8370-C068EA004DB7}" sibTransId="{6CDD5F2F-DC14-46D9-87E7-871C2297CCE1}"/>
    <dgm:cxn modelId="{33216F7E-EB20-40E4-80B2-230741B9066C}" srcId="{DF86A6E5-580E-4F2A-B223-B458E5A97CE4}" destId="{18F0B681-B9EA-4FB0-9513-5822E4463EBD}" srcOrd="2" destOrd="0" parTransId="{8C88E6FE-C5AD-4CAF-AE8C-CCF25063B973}" sibTransId="{47555A9B-AE81-4212-AC0C-7EE78B56AAF0}"/>
    <dgm:cxn modelId="{59010887-7A53-4F2B-9A4A-FC2882A38B5F}" type="presOf" srcId="{BD772AA2-0057-48EB-841D-9BC045512D38}" destId="{6BCC47BA-0C21-4EC9-8F7B-D9BCA5C8EC21}" srcOrd="0" destOrd="8" presId="urn:microsoft.com/office/officeart/2005/8/layout/hList1"/>
    <dgm:cxn modelId="{3790F588-BD57-4CCE-B91D-33379F88B9D6}" type="presOf" srcId="{F44527D1-3623-4718-A5C7-590A95354660}" destId="{CD66AAD5-A74B-4989-8AD5-348B79FA87C7}" srcOrd="0" destOrd="0" presId="urn:microsoft.com/office/officeart/2005/8/layout/hList1"/>
    <dgm:cxn modelId="{C6CB7689-D342-4378-94C3-275D81270470}" srcId="{DF86A6E5-580E-4F2A-B223-B458E5A97CE4}" destId="{71A8E9CD-2FD9-484D-8E2E-83FD61244E59}" srcOrd="7" destOrd="0" parTransId="{EA76026B-D568-4469-9D12-1DAB0B730210}" sibTransId="{13BB9266-425F-47F3-A935-7B8C5621597D}"/>
    <dgm:cxn modelId="{9DF6AC8D-89BC-48AB-B5E7-706F9C98CAF0}" type="presOf" srcId="{5951F983-4936-4025-8BA3-AA9A370B681C}" destId="{6BCC47BA-0C21-4EC9-8F7B-D9BCA5C8EC21}" srcOrd="0" destOrd="5" presId="urn:microsoft.com/office/officeart/2005/8/layout/hList1"/>
    <dgm:cxn modelId="{28247E90-1B6F-4B60-81B0-69A13C78E8E6}" srcId="{DF86A6E5-580E-4F2A-B223-B458E5A97CE4}" destId="{5D035B97-44EF-4AEA-8EA9-786BFFB57C24}" srcOrd="3" destOrd="0" parTransId="{F391588B-CA74-4C9D-A172-969FAD9EC2C7}" sibTransId="{526DFEE8-A2CC-451F-96A0-8BD0290E9072}"/>
    <dgm:cxn modelId="{AF7BF292-2C27-461D-853B-8C4CA561F6AD}" srcId="{5D730ECF-5E56-4BCC-9295-01AA7310EDA9}" destId="{CD46F9DC-3097-44BC-84D4-73B85CEB5AD8}" srcOrd="5" destOrd="0" parTransId="{F5D89BF0-17D8-44A5-BA06-5DED91DD8CC8}" sibTransId="{49003F09-2FDB-479F-BDDC-77A41BFD5C88}"/>
    <dgm:cxn modelId="{80D2EB97-FE6E-41F7-AAC0-D99588067CBF}" type="presOf" srcId="{0F8B0C98-A74B-4E44-B92F-2CAB105C195E}" destId="{FE6D297C-C9E0-4A7D-A12A-BA53DEE78AEC}" srcOrd="0" destOrd="4" presId="urn:microsoft.com/office/officeart/2005/8/layout/hList1"/>
    <dgm:cxn modelId="{8C63B698-8A4E-457D-994E-67C74BAEA65D}" srcId="{3F8F7C63-6D9D-4496-99F3-13DF66B8EAD6}" destId="{630C8C32-A979-40C7-BDD7-71A76577670D}" srcOrd="0" destOrd="0" parTransId="{A072B589-234B-4E81-93D6-F23076B69245}" sibTransId="{BC580252-AC53-48E5-98C9-B7684010D558}"/>
    <dgm:cxn modelId="{0ED3DF9B-E4B0-4681-95D2-1F1F9BB4BD14}" type="presOf" srcId="{CD46F9DC-3097-44BC-84D4-73B85CEB5AD8}" destId="{CD66AAD5-A74B-4989-8AD5-348B79FA87C7}" srcOrd="0" destOrd="5" presId="urn:microsoft.com/office/officeart/2005/8/layout/hList1"/>
    <dgm:cxn modelId="{F9C9F39C-7EC0-43C6-9FB2-54FA2A754ED4}" srcId="{5D730ECF-5E56-4BCC-9295-01AA7310EDA9}" destId="{DC1AB3C9-E76A-4172-85C2-F2254809A158}" srcOrd="1" destOrd="0" parTransId="{C5D9562B-6B57-4AC9-BF23-4DE294D9CCC0}" sibTransId="{166C141F-AA0E-4C97-B1EA-A06F2DE1C2CA}"/>
    <dgm:cxn modelId="{44C8BE9E-8A73-47DE-BA80-191BAB42247C}" type="presOf" srcId="{401F0372-7C1A-47C1-ADD7-711995422879}" destId="{569DA3D3-C2E5-4089-A6F0-CF7A0DE5293E}" srcOrd="0" destOrd="3" presId="urn:microsoft.com/office/officeart/2005/8/layout/hList1"/>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6EF1EBA1-E49D-428D-BFC4-1C65518BD8D7}" type="presOf" srcId="{ACC56B55-B54D-4F97-A978-D694743ADE3E}" destId="{FE6D297C-C9E0-4A7D-A12A-BA53DEE78AEC}" srcOrd="0" destOrd="5" presId="urn:microsoft.com/office/officeart/2005/8/layout/hList1"/>
    <dgm:cxn modelId="{D1018BA4-D551-4AF8-AE83-3A349CE9146F}" type="presOf" srcId="{639BF8EA-4D33-4B30-911B-6776BADCAC46}" destId="{79AA2380-6C09-4C3E-A320-87D02EF11B92}" srcOrd="0" destOrd="0" presId="urn:microsoft.com/office/officeart/2005/8/layout/hList1"/>
    <dgm:cxn modelId="{B5363AA6-367E-4352-9210-91B6613AEB54}" srcId="{5D730ECF-5E56-4BCC-9295-01AA7310EDA9}" destId="{893E7C06-D653-47A6-AE1C-68D245AF3E64}" srcOrd="6" destOrd="0" parTransId="{3933C5AD-E0BA-4B92-AAA9-061A899CA552}" sibTransId="{2CB8B4CF-883F-4D1D-926C-DAE94DA4D2AC}"/>
    <dgm:cxn modelId="{EBA58CA9-A3CE-412F-9474-7EAFF04D075A}" srcId="{5D730ECF-5E56-4BCC-9295-01AA7310EDA9}" destId="{6F7084A3-F6F4-4055-8404-3AB7D7F43B45}" srcOrd="2" destOrd="0" parTransId="{FB834508-C913-4467-8009-DCEB15E722F0}" sibTransId="{06B3AF3A-C83F-448F-BA86-3585D21C19DD}"/>
    <dgm:cxn modelId="{B4E214AA-5BD0-42F3-AC2F-CDAC373FF126}" srcId="{3F8F7C63-6D9D-4496-99F3-13DF66B8EAD6}" destId="{0CF6FF1F-C08F-4FC3-A083-8DE69E9808EC}" srcOrd="4" destOrd="0" parTransId="{E2C68DD5-0B4D-46BB-8703-7E6E04774A00}" sibTransId="{69BB4931-D0E5-4586-B4A7-B24CFD9DD6C0}"/>
    <dgm:cxn modelId="{DC1AC8AC-9C09-4807-AF0C-A7962DB87579}" type="presOf" srcId="{6F7084A3-F6F4-4055-8404-3AB7D7F43B45}" destId="{CD66AAD5-A74B-4989-8AD5-348B79FA87C7}" srcOrd="0" destOrd="2"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438FBBBF-6D29-4D7B-82E9-FC50AE202B5F}" type="presOf" srcId="{71A8E9CD-2FD9-484D-8E2E-83FD61244E59}" destId="{6BCC47BA-0C21-4EC9-8F7B-D9BCA5C8EC21}" srcOrd="0" destOrd="7" presId="urn:microsoft.com/office/officeart/2005/8/layout/hList1"/>
    <dgm:cxn modelId="{6BE278C0-C94B-4C6B-AC78-409341D28AA8}" type="presOf" srcId="{DDB2D429-A54B-474B-9DCF-A0E6B52D46DA}" destId="{CD66AAD5-A74B-4989-8AD5-348B79FA87C7}" srcOrd="0" destOrd="4" presId="urn:microsoft.com/office/officeart/2005/8/layout/hList1"/>
    <dgm:cxn modelId="{ECC1D2C5-2A04-4ECA-8B4E-66926045B756}" type="presOf" srcId="{78CACE34-8D6E-4E2A-8E77-8E06AAA6CB14}" destId="{6BCC47BA-0C21-4EC9-8F7B-D9BCA5C8EC21}" srcOrd="0" destOrd="6" presId="urn:microsoft.com/office/officeart/2005/8/layout/hList1"/>
    <dgm:cxn modelId="{FFB818C7-DF6C-47C8-B2DD-A5DB62320516}" type="presOf" srcId="{DC1AB3C9-E76A-4172-85C2-F2254809A158}" destId="{CD66AAD5-A74B-4989-8AD5-348B79FA87C7}" srcOrd="0" destOrd="1" presId="urn:microsoft.com/office/officeart/2005/8/layout/hList1"/>
    <dgm:cxn modelId="{BA4F5ECD-31C9-482B-B6B8-AA34483001C2}" srcId="{DF86A6E5-580E-4F2A-B223-B458E5A97CE4}" destId="{FC2E9FD0-AD1A-4E81-8CE8-F5387731ACC5}" srcOrd="0" destOrd="0" parTransId="{92D28802-A2B7-406B-9ECE-488CDE2B7EE3}" sibTransId="{5552313E-ED74-447B-808B-0524835A4DBB}"/>
    <dgm:cxn modelId="{71F5C5CE-76D8-4EC7-A21E-453AF89BD604}" srcId="{5D730ECF-5E56-4BCC-9295-01AA7310EDA9}" destId="{733AC198-8C9A-4B42-9E53-02CEB15F3C9F}" srcOrd="3" destOrd="0" parTransId="{0608B9E6-3495-41C4-8CB6-E742C70D3BD5}" sibTransId="{4C7AF5B8-74FC-4ECC-8F44-8EC6EDA79510}"/>
    <dgm:cxn modelId="{D4F09DD2-D7DC-4C0A-B107-20DDDF7554E9}" srcId="{639BF8EA-4D33-4B30-911B-6776BADCAC46}" destId="{8A005F68-872E-4565-97CF-5F934A8F7106}" srcOrd="0" destOrd="0" parTransId="{6458AC6F-FC93-49FE-B39E-B3BD37FC1330}" sibTransId="{88809219-9B02-4029-97B7-029D87354175}"/>
    <dgm:cxn modelId="{A9AB27D9-AB37-4556-8F6E-CCDE59F2CF86}" srcId="{AA0CC1A4-89B3-4AA2-AE39-4C1399639CA2}" destId="{54C72AF5-701B-4378-8525-F1DF460F34ED}" srcOrd="1" destOrd="0" parTransId="{5D5C2022-D69D-486A-9984-619FA0DA17BE}" sibTransId="{8D515924-C436-4473-8074-31B0016C1AC1}"/>
    <dgm:cxn modelId="{6EEA13DD-BDFC-480B-986D-C0DA4A14A9A5}" srcId="{DF86A6E5-580E-4F2A-B223-B458E5A97CE4}" destId="{1144DE18-D484-4BAD-9BCD-C2A895778177}" srcOrd="1" destOrd="0" parTransId="{9AA8132E-8CDA-4B15-A603-A6896F9F03B5}" sibTransId="{F46E2948-5B5B-4C02-B9BF-46504DD0308B}"/>
    <dgm:cxn modelId="{209C99E0-8A1B-44A9-A55C-D147A3A22902}" type="presOf" srcId="{7A35B426-1F7B-470E-83C9-8B734CBF59CF}" destId="{FE6D297C-C9E0-4A7D-A12A-BA53DEE78AEC}" srcOrd="0" destOrd="3" presId="urn:microsoft.com/office/officeart/2005/8/layout/hList1"/>
    <dgm:cxn modelId="{57F31CE3-3C73-4217-AE56-B08ECA54219C}" type="presOf" srcId="{2D85A258-BD61-47B2-9E3B-C776B166BC78}" destId="{6BCC47BA-0C21-4EC9-8F7B-D9BCA5C8EC21}" srcOrd="0" destOrd="4" presId="urn:microsoft.com/office/officeart/2005/8/layout/hList1"/>
    <dgm:cxn modelId="{81B594E4-E77F-43CE-8D05-73975001A173}" srcId="{DF86A6E5-580E-4F2A-B223-B458E5A97CE4}" destId="{BD772AA2-0057-48EB-841D-9BC045512D38}" srcOrd="8" destOrd="0" parTransId="{4B311D96-8E7F-4F2D-A0B9-EC6CDE961B16}" sibTransId="{4814EA35-3EB9-4A2D-B0F9-028471BDED58}"/>
    <dgm:cxn modelId="{02EC88E5-EB7E-4B62-AACE-1DF534D5C0EB}" srcId="{DF86A6E5-580E-4F2A-B223-B458E5A97CE4}" destId="{5951F983-4936-4025-8BA3-AA9A370B681C}" srcOrd="5" destOrd="0" parTransId="{3846E38C-ECBD-4663-BCDF-8DABCB67D5A0}" sibTransId="{08745901-2176-4099-9C90-0DEE84390506}"/>
    <dgm:cxn modelId="{28191EE6-95A7-4034-9576-375608FEE2BA}" srcId="{3F8F7C63-6D9D-4496-99F3-13DF66B8EAD6}" destId="{4A547C1D-B2B4-4DC0-9186-F06ADA29D96C}" srcOrd="1" destOrd="0" parTransId="{F4FB9ED1-E83E-49C1-92FA-6655211CE690}" sibTransId="{5B58EB33-10F0-4DE7-8164-D3499FE473A2}"/>
    <dgm:cxn modelId="{B1CE40E7-C3CF-4975-A224-A2279AA3F9DB}" type="presOf" srcId="{3A49676A-F985-4612-8E3F-B09E7F5953A5}" destId="{FE6D297C-C9E0-4A7D-A12A-BA53DEE78AEC}" srcOrd="0" destOrd="2" presId="urn:microsoft.com/office/officeart/2005/8/layout/hList1"/>
    <dgm:cxn modelId="{B329AEE8-4543-402A-AA06-29F3A101607E}" type="presOf" srcId="{DF86A6E5-580E-4F2A-B223-B458E5A97CE4}" destId="{19CDF2AB-3B0B-41CB-AD00-E99839314F1A}" srcOrd="0" destOrd="0" presId="urn:microsoft.com/office/officeart/2005/8/layout/hList1"/>
    <dgm:cxn modelId="{6F9E7FEA-56DB-4D6C-AD27-F013E8B6B142}" srcId="{DF86A6E5-580E-4F2A-B223-B458E5A97CE4}" destId="{78CACE34-8D6E-4E2A-8E77-8E06AAA6CB14}" srcOrd="6" destOrd="0" parTransId="{9F75D9EC-E99F-47C7-BA88-CE4A339E8CC1}" sibTransId="{D260C768-9DF7-4422-A501-CB3985EE8400}"/>
    <dgm:cxn modelId="{D140A2EB-3F7E-42F4-996C-1F3B53C6C159}" type="presOf" srcId="{C6F6A35E-EF9D-42DB-9F6B-51AFF90BC98C}" destId="{FE6D297C-C9E0-4A7D-A12A-BA53DEE78AEC}" srcOrd="0" destOrd="0" presId="urn:microsoft.com/office/officeart/2005/8/layout/hList1"/>
    <dgm:cxn modelId="{59492FEC-B5E7-4969-A53B-A17388F67000}" type="presOf" srcId="{18F0B681-B9EA-4FB0-9513-5822E4463EBD}" destId="{6BCC47BA-0C21-4EC9-8F7B-D9BCA5C8EC21}" srcOrd="0" destOrd="2" presId="urn:microsoft.com/office/officeart/2005/8/layout/hList1"/>
    <dgm:cxn modelId="{B28E83F1-1224-4336-82E7-A73EF15B6468}" type="presOf" srcId="{893E7C06-D653-47A6-AE1C-68D245AF3E64}" destId="{CD66AAD5-A74B-4989-8AD5-348B79FA87C7}" srcOrd="0" destOrd="6" presId="urn:microsoft.com/office/officeart/2005/8/layout/hList1"/>
    <dgm:cxn modelId="{460982F2-6E3B-4E37-86A8-4DD66B6D22CF}" type="presOf" srcId="{B9E04480-191E-4EE4-B47A-C7D607722DD4}" destId="{569DA3D3-C2E5-4089-A6F0-CF7A0DE5293E}" srcOrd="0" destOrd="4" presId="urn:microsoft.com/office/officeart/2005/8/layout/hList1"/>
    <dgm:cxn modelId="{235AF3F2-4DC6-4ACE-9EC0-844AD822351F}" type="presOf" srcId="{8A005F68-872E-4565-97CF-5F934A8F7106}" destId="{569DA3D3-C2E5-4089-A6F0-CF7A0DE5293E}" srcOrd="0" destOrd="0" presId="urn:microsoft.com/office/officeart/2005/8/layout/hList1"/>
    <dgm:cxn modelId="{1A79C8F4-053A-42E7-9A59-549B72D27189}" srcId="{AA0CC1A4-89B3-4AA2-AE39-4C1399639CA2}" destId="{3A49676A-F985-4612-8E3F-B09E7F5953A5}" srcOrd="2" destOrd="0" parTransId="{373F37CE-C981-4F7A-B1CC-0C2867E61ADA}" sibTransId="{0F4E1333-36B3-49FC-BCE9-7962A7ABD1D4}"/>
    <dgm:cxn modelId="{371544FF-7059-4841-86CF-E5F6D0EA4AEB}" type="presOf" srcId="{722059E4-A748-4A8B-8781-AB6D2D353394}" destId="{FE6D297C-C9E0-4A7D-A12A-BA53DEE78AEC}" srcOrd="0" destOrd="6"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rgbClr val="7030A0"/>
        </a:solidFill>
        <a:ln>
          <a:solidFill>
            <a:schemeClr val="bg1">
              <a:lumMod val="65000"/>
            </a:schemeClr>
          </a:solidFill>
        </a:ln>
      </dgm:spPr>
      <dgm:t>
        <a:bodyPr/>
        <a:lstStyle/>
        <a:p>
          <a:r>
            <a:rPr lang="en-AU" sz="1100" dirty="0"/>
            <a:t>Day 3 – Part II</a:t>
          </a:r>
        </a:p>
        <a:p>
          <a:r>
            <a:rPr lang="en-US" sz="1100" dirty="0"/>
            <a:t>Power Packed Day with Power BI</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4– Part I</a:t>
          </a:r>
        </a:p>
        <a:p>
          <a:r>
            <a:rPr lang="en-US" sz="1100" dirty="0"/>
            <a:t>Power up your Apps with AI Builder</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4– Part II</a:t>
          </a:r>
        </a:p>
        <a:p>
          <a:r>
            <a:rPr lang="en-US" sz="1100" dirty="0"/>
            <a:t>Power Platform Administration, Security &amp; Integration Connector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a:t>Introduction</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5– Part I</a:t>
          </a:r>
        </a:p>
        <a:p>
          <a:r>
            <a:rPr lang="en-US" sz="1100" dirty="0"/>
            <a:t>Power Packed Bizz Apps Day – Sales &amp; Marketing</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5– Part II</a:t>
          </a:r>
        </a:p>
        <a:p>
          <a:r>
            <a:rPr lang="en-US" sz="1100" dirty="0"/>
            <a:t>Power Packed Bizz Apps Day– Finance &amp; Supply Chain</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9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545A33F6-B5F6-426A-8C86-40CF9A69FDEB}">
      <dgm:prSet custT="1"/>
      <dgm:spPr/>
      <dgm:t>
        <a:bodyPr/>
        <a:lstStyle/>
        <a:p>
          <a:pPr>
            <a:lnSpc>
              <a:spcPct val="150000"/>
            </a:lnSpc>
            <a:buFont typeface="Wingdings" panose="05000000000000000000" pitchFamily="2" charset="2"/>
            <a:buChar char="ü"/>
          </a:pPr>
          <a:r>
            <a:rPr lang="en-US" sz="1100" dirty="0"/>
            <a:t>AI for every app. And everyone</a:t>
          </a:r>
          <a:endParaRPr lang="en-GB" sz="1100" dirty="0"/>
        </a:p>
      </dgm:t>
    </dgm:pt>
    <dgm:pt modelId="{35A6CFD5-75E6-454E-82A8-2EEB5B20D7C7}" type="parTrans" cxnId="{46AC5DA6-931E-485C-80D5-609AA370BF3C}">
      <dgm:prSet/>
      <dgm:spPr/>
      <dgm:t>
        <a:bodyPr/>
        <a:lstStyle/>
        <a:p>
          <a:endParaRPr lang="en-GB"/>
        </a:p>
      </dgm:t>
    </dgm:pt>
    <dgm:pt modelId="{871627F3-A0BF-4926-ACF6-1AD098FB9865}" type="sibTrans" cxnId="{46AC5DA6-931E-485C-80D5-609AA370BF3C}">
      <dgm:prSet/>
      <dgm:spPr/>
      <dgm:t>
        <a:bodyPr/>
        <a:lstStyle/>
        <a:p>
          <a:endParaRPr lang="en-GB"/>
        </a:p>
      </dgm:t>
    </dgm:pt>
    <dgm:pt modelId="{3E642F35-97D9-4849-9004-96A0F376220D}">
      <dgm:prSet custT="1"/>
      <dgm:spPr/>
      <dgm:t>
        <a:bodyPr/>
        <a:lstStyle/>
        <a:p>
          <a:pPr>
            <a:lnSpc>
              <a:spcPct val="150000"/>
            </a:lnSpc>
            <a:buFont typeface="Wingdings" panose="05000000000000000000" pitchFamily="2" charset="2"/>
            <a:buChar char="ü"/>
          </a:pPr>
          <a:r>
            <a:rPr lang="en-GB" sz="1100" dirty="0"/>
            <a:t>Setup Environment</a:t>
          </a:r>
        </a:p>
      </dgm:t>
    </dgm:pt>
    <dgm:pt modelId="{FC0A6F24-07E2-403B-9EB3-1E68DF92A7B9}" type="parTrans" cxnId="{B0D6FD5E-D622-4C75-951D-4FCFE47F2376}">
      <dgm:prSet/>
      <dgm:spPr/>
      <dgm:t>
        <a:bodyPr/>
        <a:lstStyle/>
        <a:p>
          <a:endParaRPr lang="en-GB"/>
        </a:p>
      </dgm:t>
    </dgm:pt>
    <dgm:pt modelId="{E455CF66-9B12-4FAB-A0CC-01947E2B58B4}" type="sibTrans" cxnId="{B0D6FD5E-D622-4C75-951D-4FCFE47F2376}">
      <dgm:prSet/>
      <dgm:spPr/>
      <dgm:t>
        <a:bodyPr/>
        <a:lstStyle/>
        <a:p>
          <a:endParaRPr lang="en-GB"/>
        </a:p>
      </dgm:t>
    </dgm:pt>
    <dgm:pt modelId="{E5BD9D08-D55A-4077-A266-63A3412B597C}">
      <dgm:prSet custT="1"/>
      <dgm:spPr/>
      <dgm:t>
        <a:bodyPr/>
        <a:lstStyle/>
        <a:p>
          <a:pPr>
            <a:lnSpc>
              <a:spcPct val="150000"/>
            </a:lnSpc>
            <a:buFont typeface="Wingdings" panose="05000000000000000000" pitchFamily="2" charset="2"/>
            <a:buChar char="ü"/>
          </a:pPr>
          <a:r>
            <a:rPr lang="en-GB" sz="1100" dirty="0"/>
            <a:t>Types of AI Model</a:t>
          </a:r>
        </a:p>
      </dgm:t>
    </dgm:pt>
    <dgm:pt modelId="{6B05C7C0-09DD-451E-AE20-D6C396140BA4}" type="parTrans" cxnId="{3A16BE9C-5C16-43C7-92AE-5D9F366D5D99}">
      <dgm:prSet/>
      <dgm:spPr/>
      <dgm:t>
        <a:bodyPr/>
        <a:lstStyle/>
        <a:p>
          <a:endParaRPr lang="en-GB"/>
        </a:p>
      </dgm:t>
    </dgm:pt>
    <dgm:pt modelId="{BA576175-C61B-4F42-BBB2-1AF3DD04D2D8}" type="sibTrans" cxnId="{3A16BE9C-5C16-43C7-92AE-5D9F366D5D99}">
      <dgm:prSet/>
      <dgm:spPr/>
      <dgm:t>
        <a:bodyPr/>
        <a:lstStyle/>
        <a:p>
          <a:endParaRPr lang="en-GB"/>
        </a:p>
      </dgm:t>
    </dgm:pt>
    <dgm:pt modelId="{98E9E80D-99C6-4D95-ADA3-154C4B59F85F}">
      <dgm:prSet custT="1"/>
      <dgm:spPr/>
      <dgm:t>
        <a:bodyPr/>
        <a:lstStyle/>
        <a:p>
          <a:pPr>
            <a:lnSpc>
              <a:spcPct val="150000"/>
            </a:lnSpc>
            <a:buFont typeface="Wingdings" panose="05000000000000000000" pitchFamily="2" charset="2"/>
            <a:buChar char="ü"/>
          </a:pPr>
          <a:r>
            <a:rPr lang="en-GB" sz="1100" dirty="0"/>
            <a:t>Prediction</a:t>
          </a:r>
        </a:p>
      </dgm:t>
    </dgm:pt>
    <dgm:pt modelId="{3C03EB72-6B54-48F4-8582-F81997B953D1}" type="parTrans" cxnId="{202B2BBF-62BE-4D26-8E3B-E4B0A1386412}">
      <dgm:prSet/>
      <dgm:spPr/>
      <dgm:t>
        <a:bodyPr/>
        <a:lstStyle/>
        <a:p>
          <a:endParaRPr lang="en-GB"/>
        </a:p>
      </dgm:t>
    </dgm:pt>
    <dgm:pt modelId="{F8702242-78A9-478A-AA78-B0CC2FEB8CFB}" type="sibTrans" cxnId="{202B2BBF-62BE-4D26-8E3B-E4B0A1386412}">
      <dgm:prSet/>
      <dgm:spPr/>
      <dgm:t>
        <a:bodyPr/>
        <a:lstStyle/>
        <a:p>
          <a:endParaRPr lang="en-GB"/>
        </a:p>
      </dgm:t>
    </dgm:pt>
    <dgm:pt modelId="{236D48B7-63A7-4285-9C6C-7AFF01B56D9D}">
      <dgm:prSet custT="1"/>
      <dgm:spPr/>
      <dgm:t>
        <a:bodyPr/>
        <a:lstStyle/>
        <a:p>
          <a:pPr>
            <a:lnSpc>
              <a:spcPct val="150000"/>
            </a:lnSpc>
            <a:buFont typeface="Wingdings" panose="05000000000000000000" pitchFamily="2" charset="2"/>
            <a:buChar char="ü"/>
          </a:pPr>
          <a:r>
            <a:rPr lang="en-GB" sz="1100" dirty="0"/>
            <a:t>Form processing</a:t>
          </a:r>
        </a:p>
      </dgm:t>
    </dgm:pt>
    <dgm:pt modelId="{13EDD0DB-D12A-4055-86FC-11CE01E96C7B}" type="parTrans" cxnId="{7D186AED-01CD-425B-8B11-92BA4F6709E3}">
      <dgm:prSet/>
      <dgm:spPr/>
      <dgm:t>
        <a:bodyPr/>
        <a:lstStyle/>
        <a:p>
          <a:endParaRPr lang="en-GB"/>
        </a:p>
      </dgm:t>
    </dgm:pt>
    <dgm:pt modelId="{410012CC-317E-4CEA-BD64-8DB0C548B075}" type="sibTrans" cxnId="{7D186AED-01CD-425B-8B11-92BA4F6709E3}">
      <dgm:prSet/>
      <dgm:spPr/>
      <dgm:t>
        <a:bodyPr/>
        <a:lstStyle/>
        <a:p>
          <a:endParaRPr lang="en-GB"/>
        </a:p>
      </dgm:t>
    </dgm:pt>
    <dgm:pt modelId="{24E91F4A-3897-4A0C-950E-4537F3FBB810}">
      <dgm:prSet custT="1"/>
      <dgm:spPr/>
      <dgm:t>
        <a:bodyPr/>
        <a:lstStyle/>
        <a:p>
          <a:pPr>
            <a:lnSpc>
              <a:spcPct val="150000"/>
            </a:lnSpc>
            <a:buFont typeface="Wingdings" panose="05000000000000000000" pitchFamily="2" charset="2"/>
            <a:buChar char="ü"/>
          </a:pPr>
          <a:r>
            <a:rPr lang="en-GB" sz="1100" dirty="0"/>
            <a:t>Object detection</a:t>
          </a:r>
        </a:p>
      </dgm:t>
    </dgm:pt>
    <dgm:pt modelId="{3FA903BF-7730-470C-B9B9-D24374440B2F}" type="parTrans" cxnId="{E89DCC35-4170-4CB2-A20C-EB81473BF897}">
      <dgm:prSet/>
      <dgm:spPr/>
      <dgm:t>
        <a:bodyPr/>
        <a:lstStyle/>
        <a:p>
          <a:endParaRPr lang="en-GB"/>
        </a:p>
      </dgm:t>
    </dgm:pt>
    <dgm:pt modelId="{B56624A6-8E5F-4771-B1C0-E2E7A2D5FEA7}" type="sibTrans" cxnId="{E89DCC35-4170-4CB2-A20C-EB81473BF897}">
      <dgm:prSet/>
      <dgm:spPr/>
      <dgm:t>
        <a:bodyPr/>
        <a:lstStyle/>
        <a:p>
          <a:endParaRPr lang="en-GB"/>
        </a:p>
      </dgm:t>
    </dgm:pt>
    <dgm:pt modelId="{58A2E522-E29C-4132-AC13-C3D4E644FA3C}">
      <dgm:prSet custT="1"/>
      <dgm:spPr/>
      <dgm:t>
        <a:bodyPr/>
        <a:lstStyle/>
        <a:p>
          <a:pPr>
            <a:lnSpc>
              <a:spcPct val="150000"/>
            </a:lnSpc>
            <a:buFont typeface="Wingdings" panose="05000000000000000000" pitchFamily="2" charset="2"/>
            <a:buChar char="ü"/>
          </a:pPr>
          <a:r>
            <a:rPr lang="en-GB" sz="1100" dirty="0"/>
            <a:t>Text classification</a:t>
          </a:r>
        </a:p>
      </dgm:t>
    </dgm:pt>
    <dgm:pt modelId="{E9E5FE19-EEBB-4197-8E3C-36FFB0A95F09}" type="parTrans" cxnId="{95F1422B-D2D2-4C16-B913-4506C14F30E2}">
      <dgm:prSet/>
      <dgm:spPr/>
      <dgm:t>
        <a:bodyPr/>
        <a:lstStyle/>
        <a:p>
          <a:endParaRPr lang="en-GB"/>
        </a:p>
      </dgm:t>
    </dgm:pt>
    <dgm:pt modelId="{5D0976C6-ACD5-49EF-BDEC-DCDD2C61531D}" type="sibTrans" cxnId="{95F1422B-D2D2-4C16-B913-4506C14F30E2}">
      <dgm:prSet/>
      <dgm:spPr/>
      <dgm:t>
        <a:bodyPr/>
        <a:lstStyle/>
        <a:p>
          <a:endParaRPr lang="en-GB"/>
        </a:p>
      </dgm:t>
    </dgm:pt>
    <dgm:pt modelId="{C15E1527-ED8A-4127-96D3-A40FE5E9F551}">
      <dgm:prSet custT="1"/>
      <dgm:spPr/>
      <dgm:t>
        <a:bodyPr/>
        <a:lstStyle/>
        <a:p>
          <a:pPr>
            <a:lnSpc>
              <a:spcPct val="150000"/>
            </a:lnSpc>
            <a:buFont typeface="Wingdings" panose="05000000000000000000" pitchFamily="2" charset="2"/>
            <a:buChar char="ü"/>
          </a:pPr>
          <a:r>
            <a:rPr lang="en-GB" sz="1100" dirty="0"/>
            <a:t>Demo</a:t>
          </a:r>
        </a:p>
      </dgm:t>
    </dgm:pt>
    <dgm:pt modelId="{F1F539FA-D668-4A01-9EF5-E9760A99DFC0}" type="parTrans" cxnId="{70C8AFC0-C182-4576-96DA-EAECDBD4CEE1}">
      <dgm:prSet/>
      <dgm:spPr/>
      <dgm:t>
        <a:bodyPr/>
        <a:lstStyle/>
        <a:p>
          <a:endParaRPr lang="en-GB"/>
        </a:p>
      </dgm:t>
    </dgm:pt>
    <dgm:pt modelId="{1A19537F-D665-449A-96C1-15D1F4CFFA74}" type="sibTrans" cxnId="{70C8AFC0-C182-4576-96DA-EAECDBD4CEE1}">
      <dgm:prSet/>
      <dgm:spPr/>
      <dgm:t>
        <a:bodyPr/>
        <a:lstStyle/>
        <a:p>
          <a:endParaRPr lang="en-GB"/>
        </a:p>
      </dgm:t>
    </dgm:pt>
    <dgm:pt modelId="{ED0320A2-84EF-464D-BA55-8B9CA19360EB}">
      <dgm:prSet custT="1"/>
      <dgm:spPr/>
      <dgm:t>
        <a:bodyPr/>
        <a:lstStyle/>
        <a:p>
          <a:pPr>
            <a:lnSpc>
              <a:spcPct val="150000"/>
            </a:lnSpc>
            <a:buFont typeface="Wingdings" panose="05000000000000000000" pitchFamily="2" charset="2"/>
            <a:buChar char="ü"/>
          </a:pPr>
          <a:r>
            <a:rPr lang="en-GB" sz="1100" dirty="0"/>
            <a:t>The 5x5 Principle</a:t>
          </a:r>
        </a:p>
      </dgm:t>
    </dgm:pt>
    <dgm:pt modelId="{733CED72-31D7-4D0C-A15C-D7391E674E4A}" type="parTrans" cxnId="{ADABC46F-5F7F-450F-A491-AF77B0223B23}">
      <dgm:prSet/>
      <dgm:spPr/>
      <dgm:t>
        <a:bodyPr/>
        <a:lstStyle/>
        <a:p>
          <a:endParaRPr lang="en-GB"/>
        </a:p>
      </dgm:t>
    </dgm:pt>
    <dgm:pt modelId="{4A1D8552-EF71-45FB-A7C5-E3AF0407CC2D}" type="sibTrans" cxnId="{ADABC46F-5F7F-450F-A491-AF77B0223B23}">
      <dgm:prSet/>
      <dgm:spPr/>
      <dgm:t>
        <a:bodyPr/>
        <a:lstStyle/>
        <a:p>
          <a:endParaRPr lang="en-GB"/>
        </a:p>
      </dgm:t>
    </dgm:pt>
    <dgm:pt modelId="{8E896EB5-DC99-4BB3-B264-36E39DE7CEC8}">
      <dgm:prSet custT="1"/>
      <dgm:spPr/>
      <dgm:t>
        <a:bodyPr/>
        <a:lstStyle/>
        <a:p>
          <a:pPr>
            <a:lnSpc>
              <a:spcPct val="150000"/>
            </a:lnSpc>
            <a:buFont typeface="Wingdings" panose="05000000000000000000" pitchFamily="2" charset="2"/>
            <a:buChar char="ü"/>
          </a:pPr>
          <a:r>
            <a:rPr lang="en-GB" sz="1100" dirty="0"/>
            <a:t>Customer momentum: Power BI</a:t>
          </a:r>
        </a:p>
      </dgm:t>
    </dgm:pt>
    <dgm:pt modelId="{D783B99B-ADFA-4D1B-A614-77EF61E71670}" type="parTrans" cxnId="{B9CB5028-8610-4C03-8D30-E47EEEDF1F12}">
      <dgm:prSet/>
      <dgm:spPr/>
      <dgm:t>
        <a:bodyPr/>
        <a:lstStyle/>
        <a:p>
          <a:endParaRPr lang="en-GB"/>
        </a:p>
      </dgm:t>
    </dgm:pt>
    <dgm:pt modelId="{C765E2B2-5B2B-4F45-B628-B6251082CF94}" type="sibTrans" cxnId="{B9CB5028-8610-4C03-8D30-E47EEEDF1F12}">
      <dgm:prSet/>
      <dgm:spPr/>
      <dgm:t>
        <a:bodyPr/>
        <a:lstStyle/>
        <a:p>
          <a:endParaRPr lang="en-GB"/>
        </a:p>
      </dgm:t>
    </dgm:pt>
    <dgm:pt modelId="{A6C29D9B-FA0D-4C44-99F3-70A3C6A28ABC}">
      <dgm:prSet custT="1"/>
      <dgm:spPr/>
      <dgm:t>
        <a:bodyPr/>
        <a:lstStyle/>
        <a:p>
          <a:pPr>
            <a:lnSpc>
              <a:spcPct val="150000"/>
            </a:lnSpc>
            <a:buFont typeface="Wingdings" panose="05000000000000000000" pitchFamily="2" charset="2"/>
            <a:buChar char="ü"/>
          </a:pPr>
          <a:r>
            <a:rPr lang="en-GB" sz="1100" dirty="0"/>
            <a:t>Power BI Desktop</a:t>
          </a:r>
        </a:p>
      </dgm:t>
    </dgm:pt>
    <dgm:pt modelId="{30B991BB-59D0-46CE-B76F-A8E10A0E3AD2}" type="parTrans" cxnId="{DE6DA398-F2D2-4825-B1B7-40F17E6BD05B}">
      <dgm:prSet/>
      <dgm:spPr/>
      <dgm:t>
        <a:bodyPr/>
        <a:lstStyle/>
        <a:p>
          <a:endParaRPr lang="en-GB"/>
        </a:p>
      </dgm:t>
    </dgm:pt>
    <dgm:pt modelId="{C42FABC9-FC87-44F8-819D-67DCEC95CB19}" type="sibTrans" cxnId="{DE6DA398-F2D2-4825-B1B7-40F17E6BD05B}">
      <dgm:prSet/>
      <dgm:spPr/>
      <dgm:t>
        <a:bodyPr/>
        <a:lstStyle/>
        <a:p>
          <a:endParaRPr lang="en-GB"/>
        </a:p>
      </dgm:t>
    </dgm:pt>
    <dgm:pt modelId="{A05F72D0-69A6-4C7B-BB38-A1A0AB843EE4}">
      <dgm:prSet custT="1"/>
      <dgm:spPr/>
      <dgm:t>
        <a:bodyPr/>
        <a:lstStyle/>
        <a:p>
          <a:pPr>
            <a:lnSpc>
              <a:spcPct val="150000"/>
            </a:lnSpc>
            <a:buFont typeface="Wingdings" panose="05000000000000000000" pitchFamily="2" charset="2"/>
            <a:buChar char="ü"/>
          </a:pPr>
          <a:r>
            <a:rPr lang="en-GB" sz="1100" dirty="0"/>
            <a:t>Data sources</a:t>
          </a:r>
        </a:p>
      </dgm:t>
    </dgm:pt>
    <dgm:pt modelId="{62F7D189-29D3-4D68-9BF0-B0FAEE19B125}" type="parTrans" cxnId="{01AD5014-4F28-4426-95E6-AF48D3E6D80A}">
      <dgm:prSet/>
      <dgm:spPr/>
      <dgm:t>
        <a:bodyPr/>
        <a:lstStyle/>
        <a:p>
          <a:endParaRPr lang="en-GB"/>
        </a:p>
      </dgm:t>
    </dgm:pt>
    <dgm:pt modelId="{74C6F7AD-BBFB-49F3-9C3B-B861D5A124C6}" type="sibTrans" cxnId="{01AD5014-4F28-4426-95E6-AF48D3E6D80A}">
      <dgm:prSet/>
      <dgm:spPr/>
      <dgm:t>
        <a:bodyPr/>
        <a:lstStyle/>
        <a:p>
          <a:endParaRPr lang="en-GB"/>
        </a:p>
      </dgm:t>
    </dgm:pt>
    <dgm:pt modelId="{03D3870E-6E12-4A4A-99E8-B07254945176}">
      <dgm:prSet custT="1"/>
      <dgm:spPr/>
      <dgm:t>
        <a:bodyPr/>
        <a:lstStyle/>
        <a:p>
          <a:pPr>
            <a:lnSpc>
              <a:spcPct val="150000"/>
            </a:lnSpc>
            <a:buFont typeface="Wingdings" panose="05000000000000000000" pitchFamily="2" charset="2"/>
            <a:buChar char="ü"/>
          </a:pPr>
          <a:r>
            <a:rPr lang="en-GB" sz="1100" dirty="0"/>
            <a:t>Power Query</a:t>
          </a:r>
        </a:p>
      </dgm:t>
    </dgm:pt>
    <dgm:pt modelId="{A33E1C08-23D8-4E14-99AB-83006AD2583F}" type="parTrans" cxnId="{E22B1161-B875-42C3-872A-BA51DEFE8537}">
      <dgm:prSet/>
      <dgm:spPr/>
      <dgm:t>
        <a:bodyPr/>
        <a:lstStyle/>
        <a:p>
          <a:endParaRPr lang="en-GB"/>
        </a:p>
      </dgm:t>
    </dgm:pt>
    <dgm:pt modelId="{60E885CE-DE9F-4222-901B-F44A9519D4BC}" type="sibTrans" cxnId="{E22B1161-B875-42C3-872A-BA51DEFE8537}">
      <dgm:prSet/>
      <dgm:spPr/>
      <dgm:t>
        <a:bodyPr/>
        <a:lstStyle/>
        <a:p>
          <a:endParaRPr lang="en-GB"/>
        </a:p>
      </dgm:t>
    </dgm:pt>
    <dgm:pt modelId="{B1D56709-3A7C-4639-9F64-8CF2DFC1EEAF}">
      <dgm:prSet custT="1"/>
      <dgm:spPr/>
      <dgm:t>
        <a:bodyPr/>
        <a:lstStyle/>
        <a:p>
          <a:pPr>
            <a:lnSpc>
              <a:spcPct val="150000"/>
            </a:lnSpc>
            <a:buFont typeface="Wingdings" panose="05000000000000000000" pitchFamily="2" charset="2"/>
            <a:buChar char="ü"/>
          </a:pPr>
          <a:r>
            <a:rPr lang="en-GB" sz="1100" dirty="0"/>
            <a:t>Dataflow</a:t>
          </a:r>
        </a:p>
      </dgm:t>
    </dgm:pt>
    <dgm:pt modelId="{CFEBF81F-9A13-4624-9116-3E4F01E99DAC}" type="parTrans" cxnId="{5A99B117-83E0-4DDA-9909-5A1A6250AD18}">
      <dgm:prSet/>
      <dgm:spPr/>
      <dgm:t>
        <a:bodyPr/>
        <a:lstStyle/>
        <a:p>
          <a:endParaRPr lang="en-GB"/>
        </a:p>
      </dgm:t>
    </dgm:pt>
    <dgm:pt modelId="{740B5291-618D-4B35-84FE-8EE5C299203E}" type="sibTrans" cxnId="{5A99B117-83E0-4DDA-9909-5A1A6250AD18}">
      <dgm:prSet/>
      <dgm:spPr/>
      <dgm:t>
        <a:bodyPr/>
        <a:lstStyle/>
        <a:p>
          <a:endParaRPr lang="en-GB"/>
        </a:p>
      </dgm:t>
    </dgm:pt>
    <dgm:pt modelId="{DCB7BB8A-CD35-4222-952A-62E0A9CA463F}">
      <dgm:prSet custT="1"/>
      <dgm:spPr/>
      <dgm:t>
        <a:bodyPr/>
        <a:lstStyle/>
        <a:p>
          <a:pPr>
            <a:lnSpc>
              <a:spcPct val="150000"/>
            </a:lnSpc>
            <a:buFont typeface="Wingdings" panose="05000000000000000000" pitchFamily="2" charset="2"/>
            <a:buChar char="ü"/>
          </a:pPr>
          <a:r>
            <a:rPr lang="en-US" sz="1100" dirty="0"/>
            <a:t>Using a Calculation (DAX) in multiple files</a:t>
          </a:r>
          <a:endParaRPr lang="en-GB" sz="1100" dirty="0"/>
        </a:p>
      </dgm:t>
    </dgm:pt>
    <dgm:pt modelId="{A5148690-8224-4448-A595-C0900FCD59F3}" type="parTrans" cxnId="{76EEBB3B-3E89-4F18-95D8-1A19F6518923}">
      <dgm:prSet/>
      <dgm:spPr/>
      <dgm:t>
        <a:bodyPr/>
        <a:lstStyle/>
        <a:p>
          <a:endParaRPr lang="en-GB"/>
        </a:p>
      </dgm:t>
    </dgm:pt>
    <dgm:pt modelId="{34E54AF9-3437-46C4-B34E-177C1564BD59}" type="sibTrans" cxnId="{76EEBB3B-3E89-4F18-95D8-1A19F6518923}">
      <dgm:prSet/>
      <dgm:spPr/>
      <dgm:t>
        <a:bodyPr/>
        <a:lstStyle/>
        <a:p>
          <a:endParaRPr lang="en-GB"/>
        </a:p>
      </dgm:t>
    </dgm:pt>
    <dgm:pt modelId="{3FD82739-856C-477A-A9F2-F79000C2BD73}">
      <dgm:prSet custT="1"/>
      <dgm:spPr/>
      <dgm:t>
        <a:bodyPr/>
        <a:lstStyle/>
        <a:p>
          <a:pPr>
            <a:lnSpc>
              <a:spcPct val="150000"/>
            </a:lnSpc>
            <a:buFont typeface="Wingdings" panose="05000000000000000000" pitchFamily="2" charset="2"/>
            <a:buChar char="ü"/>
          </a:pPr>
          <a:r>
            <a:rPr lang="en-GB" sz="1100" dirty="0"/>
            <a:t>Paginated Reporting</a:t>
          </a:r>
        </a:p>
      </dgm:t>
    </dgm:pt>
    <dgm:pt modelId="{0D75DD0F-8D71-4417-84BC-EAD9CE83FA07}" type="parTrans" cxnId="{C377A466-AD2B-45D6-AD4A-3D0F22318176}">
      <dgm:prSet/>
      <dgm:spPr/>
      <dgm:t>
        <a:bodyPr/>
        <a:lstStyle/>
        <a:p>
          <a:endParaRPr lang="en-GB"/>
        </a:p>
      </dgm:t>
    </dgm:pt>
    <dgm:pt modelId="{8EF37914-1361-4FCA-9D73-4AFC34BC2D51}" type="sibTrans" cxnId="{C377A466-AD2B-45D6-AD4A-3D0F22318176}">
      <dgm:prSet/>
      <dgm:spPr/>
      <dgm:t>
        <a:bodyPr/>
        <a:lstStyle/>
        <a:p>
          <a:endParaRPr lang="en-GB"/>
        </a:p>
      </dgm:t>
    </dgm:pt>
    <dgm:pt modelId="{BCDD3C48-E5A3-4417-86F3-B7128AC5B7B1}">
      <dgm:prSet custT="1"/>
      <dgm:spPr/>
      <dgm:t>
        <a:bodyPr/>
        <a:lstStyle/>
        <a:p>
          <a:pPr>
            <a:lnSpc>
              <a:spcPct val="150000"/>
            </a:lnSpc>
            <a:buFont typeface="Wingdings" panose="05000000000000000000" pitchFamily="2" charset="2"/>
            <a:buChar char="ü"/>
          </a:pPr>
          <a:r>
            <a:rPr lang="en-GB" sz="1100" dirty="0"/>
            <a:t>Power BI Admin Portal </a:t>
          </a:r>
        </a:p>
      </dgm:t>
    </dgm:pt>
    <dgm:pt modelId="{10E7CB6E-2AD1-4789-8237-7BEC72F1F1FA}" type="parTrans" cxnId="{987BE227-CEAA-47DE-803C-BDCA93CF7D97}">
      <dgm:prSet/>
      <dgm:spPr/>
      <dgm:t>
        <a:bodyPr/>
        <a:lstStyle/>
        <a:p>
          <a:endParaRPr lang="en-GB"/>
        </a:p>
      </dgm:t>
    </dgm:pt>
    <dgm:pt modelId="{DFA3E833-ED9A-4EA5-ACF4-749C666265D1}" type="sibTrans" cxnId="{987BE227-CEAA-47DE-803C-BDCA93CF7D97}">
      <dgm:prSet/>
      <dgm:spPr/>
      <dgm:t>
        <a:bodyPr/>
        <a:lstStyle/>
        <a:p>
          <a:endParaRPr lang="en-GB"/>
        </a:p>
      </dgm:t>
    </dgm:pt>
    <dgm:pt modelId="{3009EBD5-8533-475D-BE3F-7DA7EB0BDAF2}">
      <dgm:prSet custT="1"/>
      <dgm:spPr/>
      <dgm:t>
        <a:bodyPr/>
        <a:lstStyle/>
        <a:p>
          <a:pPr>
            <a:lnSpc>
              <a:spcPct val="150000"/>
            </a:lnSpc>
            <a:buFont typeface="Wingdings" panose="05000000000000000000" pitchFamily="2" charset="2"/>
            <a:buChar char="ü"/>
          </a:pPr>
          <a:r>
            <a:rPr lang="en-GB" sz="1100" dirty="0"/>
            <a:t>Demo</a:t>
          </a:r>
        </a:p>
      </dgm:t>
    </dgm:pt>
    <dgm:pt modelId="{078260EC-E067-48F8-94B9-B068CF335D61}" type="parTrans" cxnId="{7BAF2CFD-1919-4540-87BA-E3BD91F1FDBD}">
      <dgm:prSet/>
      <dgm:spPr/>
      <dgm:t>
        <a:bodyPr/>
        <a:lstStyle/>
        <a:p>
          <a:endParaRPr lang="en-GB"/>
        </a:p>
      </dgm:t>
    </dgm:pt>
    <dgm:pt modelId="{DF7B415B-F4FE-4132-B4D6-C3D469631BF7}" type="sibTrans" cxnId="{7BAF2CFD-1919-4540-87BA-E3BD91F1FDBD}">
      <dgm:prSet/>
      <dgm:spPr/>
      <dgm:t>
        <a:bodyPr/>
        <a:lstStyle/>
        <a:p>
          <a:endParaRPr lang="en-GB"/>
        </a:p>
      </dgm:t>
    </dgm:pt>
    <dgm:pt modelId="{50147886-EAE7-4BEB-BA6C-F68DA6BF58EE}">
      <dgm:prSet custT="1"/>
      <dgm:spPr/>
      <dgm:t>
        <a:bodyPr/>
        <a:lstStyle/>
        <a:p>
          <a:pPr>
            <a:lnSpc>
              <a:spcPct val="150000"/>
            </a:lnSpc>
            <a:buFont typeface="Wingdings" panose="05000000000000000000" pitchFamily="2" charset="2"/>
            <a:buChar char="ü"/>
          </a:pPr>
          <a:r>
            <a:rPr lang="en-GB" sz="1100" dirty="0"/>
            <a:t>Secure your tenant</a:t>
          </a:r>
        </a:p>
      </dgm:t>
    </dgm:pt>
    <dgm:pt modelId="{1B03D5B8-A550-4C3B-B659-4BB18866FEE6}" type="parTrans" cxnId="{2ACC45BA-7497-47FE-AD13-958DF8311CFE}">
      <dgm:prSet/>
      <dgm:spPr/>
      <dgm:t>
        <a:bodyPr/>
        <a:lstStyle/>
        <a:p>
          <a:endParaRPr lang="en-GB"/>
        </a:p>
      </dgm:t>
    </dgm:pt>
    <dgm:pt modelId="{897C281A-AF25-4C78-B51E-5272CB605DBE}" type="sibTrans" cxnId="{2ACC45BA-7497-47FE-AD13-958DF8311CFE}">
      <dgm:prSet/>
      <dgm:spPr/>
      <dgm:t>
        <a:bodyPr/>
        <a:lstStyle/>
        <a:p>
          <a:endParaRPr lang="en-GB"/>
        </a:p>
      </dgm:t>
    </dgm:pt>
    <dgm:pt modelId="{40585278-DF6A-4768-8168-AFAA3D149FEC}">
      <dgm:prSet custT="1"/>
      <dgm:spPr/>
      <dgm:t>
        <a:bodyPr/>
        <a:lstStyle/>
        <a:p>
          <a:pPr>
            <a:lnSpc>
              <a:spcPct val="150000"/>
            </a:lnSpc>
            <a:buFont typeface="Wingdings" panose="05000000000000000000" pitchFamily="2" charset="2"/>
            <a:buChar char="ü"/>
          </a:pPr>
          <a:r>
            <a:rPr lang="en-GB" sz="1100" dirty="0"/>
            <a:t>Monitor your tenant’s activity</a:t>
          </a:r>
        </a:p>
      </dgm:t>
    </dgm:pt>
    <dgm:pt modelId="{5C50C266-A519-446A-82D8-B40D8304A1B7}" type="parTrans" cxnId="{DB52AA9F-F9CC-4A8E-AB0E-33BCDB036D5E}">
      <dgm:prSet/>
      <dgm:spPr/>
      <dgm:t>
        <a:bodyPr/>
        <a:lstStyle/>
        <a:p>
          <a:endParaRPr lang="en-GB"/>
        </a:p>
      </dgm:t>
    </dgm:pt>
    <dgm:pt modelId="{95C3AD48-8DBD-458D-B6BC-D77382399005}" type="sibTrans" cxnId="{DB52AA9F-F9CC-4A8E-AB0E-33BCDB036D5E}">
      <dgm:prSet/>
      <dgm:spPr/>
      <dgm:t>
        <a:bodyPr/>
        <a:lstStyle/>
        <a:p>
          <a:endParaRPr lang="en-GB"/>
        </a:p>
      </dgm:t>
    </dgm:pt>
    <dgm:pt modelId="{88D93969-2262-4FB9-8705-4D141334E937}">
      <dgm:prSet custT="1"/>
      <dgm:spPr/>
      <dgm:t>
        <a:bodyPr/>
        <a:lstStyle/>
        <a:p>
          <a:pPr>
            <a:lnSpc>
              <a:spcPct val="150000"/>
            </a:lnSpc>
            <a:buFont typeface="Wingdings" panose="05000000000000000000" pitchFamily="2" charset="2"/>
            <a:buChar char="ü"/>
          </a:pPr>
          <a:r>
            <a:rPr lang="en-US" sz="1100" dirty="0"/>
            <a:t>Alert &amp; act on that activity</a:t>
          </a:r>
          <a:endParaRPr lang="en-GB" sz="1100" dirty="0"/>
        </a:p>
      </dgm:t>
    </dgm:pt>
    <dgm:pt modelId="{8A21C158-BC6D-470C-B4B1-9EEF6E089342}" type="parTrans" cxnId="{1E130DC6-DD45-4BC4-825A-5EB61C250B47}">
      <dgm:prSet/>
      <dgm:spPr/>
      <dgm:t>
        <a:bodyPr/>
        <a:lstStyle/>
        <a:p>
          <a:endParaRPr lang="en-GB"/>
        </a:p>
      </dgm:t>
    </dgm:pt>
    <dgm:pt modelId="{32EE6A0F-BF28-43FD-9D4A-636DBEF2E24A}" type="sibTrans" cxnId="{1E130DC6-DD45-4BC4-825A-5EB61C250B47}">
      <dgm:prSet/>
      <dgm:spPr/>
      <dgm:t>
        <a:bodyPr/>
        <a:lstStyle/>
        <a:p>
          <a:endParaRPr lang="en-GB"/>
        </a:p>
      </dgm:t>
    </dgm:pt>
    <dgm:pt modelId="{9610126D-8E49-4BC7-A0DB-A630B3EC4789}">
      <dgm:prSet custT="1"/>
      <dgm:spPr/>
      <dgm:t>
        <a:bodyPr/>
        <a:lstStyle/>
        <a:p>
          <a:pPr>
            <a:lnSpc>
              <a:spcPct val="150000"/>
            </a:lnSpc>
            <a:buFont typeface="Wingdings" panose="05000000000000000000" pitchFamily="2" charset="2"/>
            <a:buChar char="ü"/>
          </a:pPr>
          <a:r>
            <a:rPr lang="en-GB" sz="1100" dirty="0"/>
            <a:t>Connectors</a:t>
          </a:r>
        </a:p>
      </dgm:t>
    </dgm:pt>
    <dgm:pt modelId="{FE2D0D8C-3E21-4CC2-9CAE-769532D3A206}" type="parTrans" cxnId="{0958170B-19A0-4708-9E20-DA0354686925}">
      <dgm:prSet/>
      <dgm:spPr/>
      <dgm:t>
        <a:bodyPr/>
        <a:lstStyle/>
        <a:p>
          <a:endParaRPr lang="en-GB"/>
        </a:p>
      </dgm:t>
    </dgm:pt>
    <dgm:pt modelId="{360FF09A-39B9-4FE3-827D-582816FF646C}" type="sibTrans" cxnId="{0958170B-19A0-4708-9E20-DA0354686925}">
      <dgm:prSet/>
      <dgm:spPr/>
      <dgm:t>
        <a:bodyPr/>
        <a:lstStyle/>
        <a:p>
          <a:endParaRPr lang="en-GB"/>
        </a:p>
      </dgm:t>
    </dgm:pt>
    <dgm:pt modelId="{624CB385-66B0-4EAE-9A0D-21C51F23C0FF}">
      <dgm:prSet custT="1"/>
      <dgm:spPr/>
      <dgm:t>
        <a:bodyPr/>
        <a:lstStyle/>
        <a:p>
          <a:pPr>
            <a:lnSpc>
              <a:spcPct val="150000"/>
            </a:lnSpc>
            <a:buFont typeface="Wingdings" panose="05000000000000000000" pitchFamily="2" charset="2"/>
            <a:buChar char="ü"/>
          </a:pPr>
          <a:r>
            <a:rPr lang="en-GB" sz="1100" dirty="0"/>
            <a:t>SharePoint Integration</a:t>
          </a:r>
        </a:p>
      </dgm:t>
    </dgm:pt>
    <dgm:pt modelId="{17722B10-61BA-4CF9-80CB-DC8F73C4175C}" type="parTrans" cxnId="{1394BDFB-E727-409D-8BB5-D3D2E6E5358D}">
      <dgm:prSet/>
      <dgm:spPr/>
      <dgm:t>
        <a:bodyPr/>
        <a:lstStyle/>
        <a:p>
          <a:endParaRPr lang="en-GB"/>
        </a:p>
      </dgm:t>
    </dgm:pt>
    <dgm:pt modelId="{FEDFE2F1-E7A6-4E9A-BE0B-1D277CEBFD8C}" type="sibTrans" cxnId="{1394BDFB-E727-409D-8BB5-D3D2E6E5358D}">
      <dgm:prSet/>
      <dgm:spPr/>
      <dgm:t>
        <a:bodyPr/>
        <a:lstStyle/>
        <a:p>
          <a:endParaRPr lang="en-GB"/>
        </a:p>
      </dgm:t>
    </dgm:pt>
    <dgm:pt modelId="{6A0DAC46-074E-44D5-BC93-2A28D37093F5}">
      <dgm:prSet custT="1"/>
      <dgm:spPr/>
      <dgm:t>
        <a:bodyPr/>
        <a:lstStyle/>
        <a:p>
          <a:pPr>
            <a:lnSpc>
              <a:spcPct val="150000"/>
            </a:lnSpc>
            <a:buFont typeface="Wingdings" panose="05000000000000000000" pitchFamily="2" charset="2"/>
            <a:buChar char="ü"/>
          </a:pPr>
          <a:r>
            <a:rPr lang="en-GB" sz="1100" dirty="0"/>
            <a:t>Demo</a:t>
          </a:r>
        </a:p>
      </dgm:t>
    </dgm:pt>
    <dgm:pt modelId="{5BD27BA4-E4AD-4969-8558-62A55EE05DA6}" type="parTrans" cxnId="{E96547F9-7650-4953-B80F-A932BA8449D0}">
      <dgm:prSet/>
      <dgm:spPr/>
      <dgm:t>
        <a:bodyPr/>
        <a:lstStyle/>
        <a:p>
          <a:endParaRPr lang="en-GB"/>
        </a:p>
      </dgm:t>
    </dgm:pt>
    <dgm:pt modelId="{196479E3-B851-4A29-AAD0-46354CAD7D02}" type="sibTrans" cxnId="{E96547F9-7650-4953-B80F-A932BA8449D0}">
      <dgm:prSet/>
      <dgm:spPr/>
      <dgm:t>
        <a:bodyPr/>
        <a:lstStyle/>
        <a:p>
          <a:endParaRPr lang="en-GB"/>
        </a:p>
      </dgm:t>
    </dgm:pt>
    <dgm:pt modelId="{5DE25A94-6918-4273-9B5D-514CB3F59858}">
      <dgm:prSet custT="1"/>
      <dgm:spPr/>
      <dgm:t>
        <a:bodyPr/>
        <a:lstStyle/>
        <a:p>
          <a:pPr>
            <a:lnSpc>
              <a:spcPct val="150000"/>
            </a:lnSpc>
            <a:buFont typeface="Wingdings" panose="05000000000000000000" pitchFamily="2" charset="2"/>
            <a:buChar char="ü"/>
          </a:pPr>
          <a:r>
            <a:rPr lang="en-GB" sz="1100" dirty="0"/>
            <a:t>Nurture more demand</a:t>
          </a:r>
        </a:p>
      </dgm:t>
    </dgm:pt>
    <dgm:pt modelId="{78ABE27B-1C98-4453-8F3E-300A620CDC95}" type="parTrans" cxnId="{C705DF45-B0B7-41EF-8645-435515E6A266}">
      <dgm:prSet/>
      <dgm:spPr/>
      <dgm:t>
        <a:bodyPr/>
        <a:lstStyle/>
        <a:p>
          <a:endParaRPr lang="en-GB"/>
        </a:p>
      </dgm:t>
    </dgm:pt>
    <dgm:pt modelId="{02691541-E1A8-4AF1-B616-21CEAD1D89BB}" type="sibTrans" cxnId="{C705DF45-B0B7-41EF-8645-435515E6A266}">
      <dgm:prSet/>
      <dgm:spPr/>
      <dgm:t>
        <a:bodyPr/>
        <a:lstStyle/>
        <a:p>
          <a:endParaRPr lang="en-GB"/>
        </a:p>
      </dgm:t>
    </dgm:pt>
    <dgm:pt modelId="{AA78ED3C-C951-4F58-9959-01105C3C2617}">
      <dgm:prSet custT="1"/>
      <dgm:spPr/>
      <dgm:t>
        <a:bodyPr/>
        <a:lstStyle/>
        <a:p>
          <a:pPr>
            <a:lnSpc>
              <a:spcPct val="150000"/>
            </a:lnSpc>
            <a:buFont typeface="Wingdings" panose="05000000000000000000" pitchFamily="2" charset="2"/>
            <a:buChar char="ü"/>
          </a:pPr>
          <a:r>
            <a:rPr lang="en-GB" sz="1100" dirty="0"/>
            <a:t>Personalize buyer experiences</a:t>
          </a:r>
        </a:p>
      </dgm:t>
    </dgm:pt>
    <dgm:pt modelId="{80E848FA-6CC9-40FF-8A2E-3A173477A632}" type="parTrans" cxnId="{B8C83676-32B6-414D-87A3-58819BB77685}">
      <dgm:prSet/>
      <dgm:spPr/>
      <dgm:t>
        <a:bodyPr/>
        <a:lstStyle/>
        <a:p>
          <a:endParaRPr lang="en-GB"/>
        </a:p>
      </dgm:t>
    </dgm:pt>
    <dgm:pt modelId="{B7695E07-7C98-439E-95ED-062A66649E8F}" type="sibTrans" cxnId="{B8C83676-32B6-414D-87A3-58819BB77685}">
      <dgm:prSet/>
      <dgm:spPr/>
      <dgm:t>
        <a:bodyPr/>
        <a:lstStyle/>
        <a:p>
          <a:endParaRPr lang="en-GB"/>
        </a:p>
      </dgm:t>
    </dgm:pt>
    <dgm:pt modelId="{B63A16E6-9473-45C1-842F-291CED23CD78}">
      <dgm:prSet custT="1"/>
      <dgm:spPr/>
      <dgm:t>
        <a:bodyPr/>
        <a:lstStyle/>
        <a:p>
          <a:pPr>
            <a:lnSpc>
              <a:spcPct val="150000"/>
            </a:lnSpc>
            <a:buFont typeface="Wingdings" panose="05000000000000000000" pitchFamily="2" charset="2"/>
            <a:buChar char="ü"/>
          </a:pPr>
          <a:r>
            <a:rPr lang="en-GB" sz="1100" dirty="0"/>
            <a:t>Build relationships at scale</a:t>
          </a:r>
        </a:p>
      </dgm:t>
    </dgm:pt>
    <dgm:pt modelId="{963CE28C-C1FE-46E3-AC82-1DFE8726E821}" type="parTrans" cxnId="{344F834E-2FCD-4079-840F-2D579BC3381A}">
      <dgm:prSet/>
      <dgm:spPr/>
      <dgm:t>
        <a:bodyPr/>
        <a:lstStyle/>
        <a:p>
          <a:endParaRPr lang="en-GB"/>
        </a:p>
      </dgm:t>
    </dgm:pt>
    <dgm:pt modelId="{0388097F-781A-4438-A3B7-D80A77EFD73E}" type="sibTrans" cxnId="{344F834E-2FCD-4079-840F-2D579BC3381A}">
      <dgm:prSet/>
      <dgm:spPr/>
      <dgm:t>
        <a:bodyPr/>
        <a:lstStyle/>
        <a:p>
          <a:endParaRPr lang="en-GB"/>
        </a:p>
      </dgm:t>
    </dgm:pt>
    <dgm:pt modelId="{36C762CA-9B14-40FD-A3BF-8E60E97AACB0}">
      <dgm:prSet custT="1"/>
      <dgm:spPr/>
      <dgm:t>
        <a:bodyPr/>
        <a:lstStyle/>
        <a:p>
          <a:pPr>
            <a:lnSpc>
              <a:spcPct val="150000"/>
            </a:lnSpc>
            <a:buFont typeface="Wingdings" panose="05000000000000000000" pitchFamily="2" charset="2"/>
            <a:buChar char="ü"/>
          </a:pPr>
          <a:r>
            <a:rPr lang="en-GB" sz="1100" dirty="0"/>
            <a:t>Make insight-driven decisions</a:t>
          </a:r>
        </a:p>
      </dgm:t>
    </dgm:pt>
    <dgm:pt modelId="{F662D8E3-E924-425F-94A3-F55106F815C5}" type="parTrans" cxnId="{A05C5356-BBB8-4364-AED6-495052AA1745}">
      <dgm:prSet/>
      <dgm:spPr/>
      <dgm:t>
        <a:bodyPr/>
        <a:lstStyle/>
        <a:p>
          <a:endParaRPr lang="en-GB"/>
        </a:p>
      </dgm:t>
    </dgm:pt>
    <dgm:pt modelId="{003494B5-C1F6-4CF6-91FF-D780D59A26B3}" type="sibTrans" cxnId="{A05C5356-BBB8-4364-AED6-495052AA1745}">
      <dgm:prSet/>
      <dgm:spPr/>
      <dgm:t>
        <a:bodyPr/>
        <a:lstStyle/>
        <a:p>
          <a:endParaRPr lang="en-GB"/>
        </a:p>
      </dgm:t>
    </dgm:pt>
    <dgm:pt modelId="{7AE03F6D-A0A5-4C20-BC13-21EF09DC5CC4}">
      <dgm:prSet custT="1"/>
      <dgm:spPr/>
      <dgm:t>
        <a:bodyPr/>
        <a:lstStyle/>
        <a:p>
          <a:pPr>
            <a:lnSpc>
              <a:spcPct val="150000"/>
            </a:lnSpc>
            <a:buFont typeface="Wingdings" panose="05000000000000000000" pitchFamily="2" charset="2"/>
            <a:buChar char="ü"/>
          </a:pPr>
          <a:r>
            <a:rPr lang="en-GB" sz="1100" dirty="0"/>
            <a:t>Demo</a:t>
          </a:r>
        </a:p>
      </dgm:t>
    </dgm:pt>
    <dgm:pt modelId="{06A9F93A-0F99-4DC0-AEE7-1C0B6A7249ED}" type="parTrans" cxnId="{12DA2772-2668-4319-8BD4-996C308E4C5C}">
      <dgm:prSet/>
      <dgm:spPr/>
      <dgm:t>
        <a:bodyPr/>
        <a:lstStyle/>
        <a:p>
          <a:endParaRPr lang="en-GB"/>
        </a:p>
      </dgm:t>
    </dgm:pt>
    <dgm:pt modelId="{D09FAE38-C505-4352-9685-99BB2BAB1ACF}" type="sibTrans" cxnId="{12DA2772-2668-4319-8BD4-996C308E4C5C}">
      <dgm:prSet/>
      <dgm:spPr/>
      <dgm:t>
        <a:bodyPr/>
        <a:lstStyle/>
        <a:p>
          <a:endParaRPr lang="en-GB"/>
        </a:p>
      </dgm:t>
    </dgm:pt>
    <dgm:pt modelId="{D8FFB6A3-E449-44EE-97FD-14B7E5F1F078}">
      <dgm:prSet custT="1"/>
      <dgm:spPr/>
      <dgm:t>
        <a:bodyPr/>
        <a:lstStyle/>
        <a:p>
          <a:pPr>
            <a:lnSpc>
              <a:spcPct val="150000"/>
            </a:lnSpc>
            <a:buFont typeface="Wingdings" panose="05000000000000000000" pitchFamily="2" charset="2"/>
            <a:buChar char="ü"/>
          </a:pPr>
          <a:r>
            <a:rPr lang="en-US" sz="1100" dirty="0"/>
            <a:t>How to embed Power BI in Dynamics 365 for Sales and Marketing</a:t>
          </a:r>
          <a:endParaRPr lang="en-GB" sz="1100" dirty="0"/>
        </a:p>
      </dgm:t>
    </dgm:pt>
    <dgm:pt modelId="{F271BF60-0D47-4E01-B8F0-23881EE9F385}" type="parTrans" cxnId="{3630CF93-9C0F-42C1-A7E3-12BADA9ACFE4}">
      <dgm:prSet/>
      <dgm:spPr/>
      <dgm:t>
        <a:bodyPr/>
        <a:lstStyle/>
        <a:p>
          <a:endParaRPr lang="en-GB"/>
        </a:p>
      </dgm:t>
    </dgm:pt>
    <dgm:pt modelId="{ACE66685-E908-479E-9B13-3E728B89578C}" type="sibTrans" cxnId="{3630CF93-9C0F-42C1-A7E3-12BADA9ACFE4}">
      <dgm:prSet/>
      <dgm:spPr/>
      <dgm:t>
        <a:bodyPr/>
        <a:lstStyle/>
        <a:p>
          <a:endParaRPr lang="en-GB"/>
        </a:p>
      </dgm:t>
    </dgm:pt>
    <dgm:pt modelId="{D8175AF9-F842-45F9-97DC-C69B2B6BBF53}">
      <dgm:prSet custT="1"/>
      <dgm:spPr/>
      <dgm:t>
        <a:bodyPr/>
        <a:lstStyle/>
        <a:p>
          <a:pPr>
            <a:lnSpc>
              <a:spcPct val="90000"/>
            </a:lnSpc>
          </a:pPr>
          <a:endParaRPr lang="en-GB" sz="1100" dirty="0"/>
        </a:p>
      </dgm:t>
    </dgm:pt>
    <dgm:pt modelId="{790B86D8-9779-4A95-9728-106B465CDD3C}" type="parTrans" cxnId="{7DEDE6A6-D5F6-4AFA-95DA-0F65625C743C}">
      <dgm:prSet/>
      <dgm:spPr/>
      <dgm:t>
        <a:bodyPr/>
        <a:lstStyle/>
        <a:p>
          <a:endParaRPr lang="en-GB"/>
        </a:p>
      </dgm:t>
    </dgm:pt>
    <dgm:pt modelId="{513B4DA5-7C2B-4D4D-9C48-E13269E1158D}" type="sibTrans" cxnId="{7DEDE6A6-D5F6-4AFA-95DA-0F65625C743C}">
      <dgm:prSet/>
      <dgm:spPr/>
      <dgm:t>
        <a:bodyPr/>
        <a:lstStyle/>
        <a:p>
          <a:endParaRPr lang="en-GB"/>
        </a:p>
      </dgm:t>
    </dgm:pt>
    <dgm:pt modelId="{64E96588-FE38-461A-86E9-A906D86DCC26}">
      <dgm:prSet custT="1"/>
      <dgm:spPr/>
      <dgm:t>
        <a:bodyPr/>
        <a:lstStyle/>
        <a:p>
          <a:pPr>
            <a:lnSpc>
              <a:spcPct val="150000"/>
            </a:lnSpc>
            <a:buFont typeface="Wingdings" panose="05000000000000000000" pitchFamily="2" charset="2"/>
            <a:buChar char="ü"/>
          </a:pPr>
          <a:r>
            <a:rPr lang="en-GB" sz="1100" dirty="0"/>
            <a:t>Technology Modernization</a:t>
          </a:r>
        </a:p>
      </dgm:t>
    </dgm:pt>
    <dgm:pt modelId="{D7A120CD-4392-413A-ABC5-98D875D6E7C0}" type="parTrans" cxnId="{075C9F0C-63F0-4997-AEC1-CCAF5A0C78DF}">
      <dgm:prSet/>
      <dgm:spPr/>
      <dgm:t>
        <a:bodyPr/>
        <a:lstStyle/>
        <a:p>
          <a:endParaRPr lang="en-GB"/>
        </a:p>
      </dgm:t>
    </dgm:pt>
    <dgm:pt modelId="{9C97479B-1091-454C-918F-895D3FE31D91}" type="sibTrans" cxnId="{075C9F0C-63F0-4997-AEC1-CCAF5A0C78DF}">
      <dgm:prSet/>
      <dgm:spPr/>
      <dgm:t>
        <a:bodyPr/>
        <a:lstStyle/>
        <a:p>
          <a:endParaRPr lang="en-GB"/>
        </a:p>
      </dgm:t>
    </dgm:pt>
    <dgm:pt modelId="{76AC8794-74F4-4EA8-BA8C-A90781232F54}">
      <dgm:prSet custT="1"/>
      <dgm:spPr/>
      <dgm:t>
        <a:bodyPr/>
        <a:lstStyle/>
        <a:p>
          <a:pPr>
            <a:lnSpc>
              <a:spcPct val="150000"/>
            </a:lnSpc>
            <a:buFont typeface="Wingdings" panose="05000000000000000000" pitchFamily="2" charset="2"/>
            <a:buChar char="ü"/>
          </a:pPr>
          <a:r>
            <a:rPr lang="en-GB" sz="1100" dirty="0"/>
            <a:t>Modern Finance</a:t>
          </a:r>
        </a:p>
      </dgm:t>
    </dgm:pt>
    <dgm:pt modelId="{4BCE2351-28E8-4364-8A5F-1B2A645300C4}" type="parTrans" cxnId="{378405E4-A10D-4798-8747-535349689E09}">
      <dgm:prSet/>
      <dgm:spPr/>
      <dgm:t>
        <a:bodyPr/>
        <a:lstStyle/>
        <a:p>
          <a:endParaRPr lang="en-GB"/>
        </a:p>
      </dgm:t>
    </dgm:pt>
    <dgm:pt modelId="{3E08878A-DE6F-4142-AE2A-F9927837BFB7}" type="sibTrans" cxnId="{378405E4-A10D-4798-8747-535349689E09}">
      <dgm:prSet/>
      <dgm:spPr/>
      <dgm:t>
        <a:bodyPr/>
        <a:lstStyle/>
        <a:p>
          <a:endParaRPr lang="en-GB"/>
        </a:p>
      </dgm:t>
    </dgm:pt>
    <dgm:pt modelId="{983CF14A-D540-41C7-985B-5652F41CF489}">
      <dgm:prSet custT="1"/>
      <dgm:spPr/>
      <dgm:t>
        <a:bodyPr/>
        <a:lstStyle/>
        <a:p>
          <a:pPr>
            <a:lnSpc>
              <a:spcPct val="150000"/>
            </a:lnSpc>
            <a:buFont typeface="Wingdings" panose="05000000000000000000" pitchFamily="2" charset="2"/>
            <a:buChar char="ü"/>
          </a:pPr>
          <a:r>
            <a:rPr lang="en-US" sz="1100" dirty="0"/>
            <a:t>Supporting modern supply chain management</a:t>
          </a:r>
          <a:endParaRPr lang="en-GB" sz="1100" dirty="0"/>
        </a:p>
      </dgm:t>
    </dgm:pt>
    <dgm:pt modelId="{2D2DEC59-26A6-45BD-B642-8013356B7F56}" type="parTrans" cxnId="{E4EF17E2-2DCE-43D5-936E-214CA1E7EA30}">
      <dgm:prSet/>
      <dgm:spPr/>
      <dgm:t>
        <a:bodyPr/>
        <a:lstStyle/>
        <a:p>
          <a:endParaRPr lang="en-GB"/>
        </a:p>
      </dgm:t>
    </dgm:pt>
    <dgm:pt modelId="{7A8877E4-83D1-47A7-9E1F-B6AA2D71D1A3}" type="sibTrans" cxnId="{E4EF17E2-2DCE-43D5-936E-214CA1E7EA30}">
      <dgm:prSet/>
      <dgm:spPr/>
      <dgm:t>
        <a:bodyPr/>
        <a:lstStyle/>
        <a:p>
          <a:endParaRPr lang="en-GB"/>
        </a:p>
      </dgm:t>
    </dgm:pt>
    <dgm:pt modelId="{269A5C72-57AF-4EA0-ACCE-C59B69488E35}">
      <dgm:prSet custT="1"/>
      <dgm:spPr/>
      <dgm:t>
        <a:bodyPr/>
        <a:lstStyle/>
        <a:p>
          <a:pPr>
            <a:lnSpc>
              <a:spcPct val="150000"/>
            </a:lnSpc>
            <a:buFont typeface="Wingdings" panose="05000000000000000000" pitchFamily="2" charset="2"/>
            <a:buChar char="ü"/>
          </a:pPr>
          <a:r>
            <a:rPr lang="en-GB" sz="1100" dirty="0"/>
            <a:t>Demo</a:t>
          </a:r>
        </a:p>
      </dgm:t>
    </dgm:pt>
    <dgm:pt modelId="{6730243B-63FA-4E3A-A384-7D02129EAE6A}" type="parTrans" cxnId="{2BCA7075-362C-4C9A-8187-DB08620C2EBE}">
      <dgm:prSet/>
      <dgm:spPr/>
      <dgm:t>
        <a:bodyPr/>
        <a:lstStyle/>
        <a:p>
          <a:endParaRPr lang="en-GB"/>
        </a:p>
      </dgm:t>
    </dgm:pt>
    <dgm:pt modelId="{0F39171B-4944-4D51-B092-A62959DD54B0}" type="sibTrans" cxnId="{2BCA7075-362C-4C9A-8187-DB08620C2EBE}">
      <dgm:prSet/>
      <dgm:spPr/>
      <dgm:t>
        <a:bodyPr/>
        <a:lstStyle/>
        <a:p>
          <a:endParaRPr lang="en-GB"/>
        </a:p>
      </dgm:t>
    </dgm:pt>
    <dgm:pt modelId="{C03E8993-A79B-42AB-A8B0-114B44B9CC95}">
      <dgm:prSet custT="1"/>
      <dgm:spPr/>
      <dgm:t>
        <a:bodyPr/>
        <a:lstStyle/>
        <a:p>
          <a:pPr>
            <a:lnSpc>
              <a:spcPct val="150000"/>
            </a:lnSpc>
            <a:buFont typeface="Wingdings" panose="05000000000000000000" pitchFamily="2" charset="2"/>
            <a:buChar char="ü"/>
          </a:pPr>
          <a:r>
            <a:rPr lang="en-US" sz="1100" dirty="0"/>
            <a:t>How to embed Power Platform in Dynamics 365 for Finance and Supply Chain</a:t>
          </a:r>
          <a:endParaRPr lang="en-GB" sz="1100" dirty="0"/>
        </a:p>
      </dgm:t>
    </dgm:pt>
    <dgm:pt modelId="{6CE51B56-EDEB-4A12-9717-AF24FF516E96}" type="parTrans" cxnId="{6C73AE07-2714-457D-B055-EC2073E86DFB}">
      <dgm:prSet/>
      <dgm:spPr/>
      <dgm:t>
        <a:bodyPr/>
        <a:lstStyle/>
        <a:p>
          <a:endParaRPr lang="en-GB"/>
        </a:p>
      </dgm:t>
    </dgm:pt>
    <dgm:pt modelId="{B4D73C8B-35DB-491F-B63F-33545E6B64BB}" type="sibTrans" cxnId="{6C73AE07-2714-457D-B055-EC2073E86DFB}">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8683EF00-FA0E-44C4-B5C4-46EDF42D1A4F}" type="presOf" srcId="{36C762CA-9B14-40FD-A3BF-8E60E97AACB0}" destId="{569DA3D3-C2E5-4089-A6F0-CF7A0DE5293E}" srcOrd="0" destOrd="4" presId="urn:microsoft.com/office/officeart/2005/8/layout/hList1"/>
    <dgm:cxn modelId="{67B61E06-C718-408A-8144-2C325A99B7CD}" type="presOf" srcId="{6A0DAC46-074E-44D5-BC93-2A28D37093F5}" destId="{FE6D297C-C9E0-4A7D-A12A-BA53DEE78AEC}" srcOrd="0" destOrd="6" presId="urn:microsoft.com/office/officeart/2005/8/layout/hList1"/>
    <dgm:cxn modelId="{6C73AE07-2714-457D-B055-EC2073E86DFB}" srcId="{DF86A6E5-580E-4F2A-B223-B458E5A97CE4}" destId="{C03E8993-A79B-42AB-A8B0-114B44B9CC95}" srcOrd="5" destOrd="0" parTransId="{6CE51B56-EDEB-4A12-9717-AF24FF516E96}" sibTransId="{B4D73C8B-35DB-491F-B63F-33545E6B64BB}"/>
    <dgm:cxn modelId="{33F1A608-4DA9-4826-AF52-36D4C55E4E04}" srcId="{AA0CC1A4-89B3-4AA2-AE39-4C1399639CA2}" destId="{C6F6A35E-EF9D-42DB-9F6B-51AFF90BC98C}" srcOrd="0" destOrd="0" parTransId="{4BE4706B-ADBA-4294-8DC4-FD7F07C201E2}" sibTransId="{5C687E63-B55E-4016-81AC-60C7B4AB88A6}"/>
    <dgm:cxn modelId="{0958170B-19A0-4708-9E20-DA0354686925}" srcId="{AA0CC1A4-89B3-4AA2-AE39-4C1399639CA2}" destId="{9610126D-8E49-4BC7-A0DB-A630B3EC4789}" srcOrd="4" destOrd="0" parTransId="{FE2D0D8C-3E21-4CC2-9CAE-769532D3A206}" sibTransId="{360FF09A-39B9-4FE3-827D-582816FF646C}"/>
    <dgm:cxn modelId="{E8DA770B-D9C7-4BFD-A4F9-3795018ED850}" type="presOf" srcId="{64E96588-FE38-461A-86E9-A906D86DCC26}" destId="{6BCC47BA-0C21-4EC9-8F7B-D9BCA5C8EC21}" srcOrd="0" destOrd="1" presId="urn:microsoft.com/office/officeart/2005/8/layout/hList1"/>
    <dgm:cxn modelId="{075C9F0C-63F0-4997-AEC1-CCAF5A0C78DF}" srcId="{DF86A6E5-580E-4F2A-B223-B458E5A97CE4}" destId="{64E96588-FE38-461A-86E9-A906D86DCC26}" srcOrd="1" destOrd="0" parTransId="{D7A120CD-4392-413A-ABC5-98D875D6E7C0}" sibTransId="{9C97479B-1091-454C-918F-895D3FE31D91}"/>
    <dgm:cxn modelId="{E3ED610E-D840-4A47-82CA-1963CEA02A3D}" srcId="{AC11CA59-F486-473C-AE1A-BD3E159BD48A}" destId="{DF86A6E5-580E-4F2A-B223-B458E5A97CE4}" srcOrd="4" destOrd="0" parTransId="{A3F965A0-4DFA-4DB1-BF22-9BD549EB3157}" sibTransId="{A2239809-CB4C-48EC-8779-BE5C55EB41C1}"/>
    <dgm:cxn modelId="{265B1D10-B47E-4005-88BD-ACD4C1855A5A}" type="presOf" srcId="{5DE25A94-6918-4273-9B5D-514CB3F59858}" destId="{569DA3D3-C2E5-4089-A6F0-CF7A0DE5293E}" srcOrd="0" destOrd="1" presId="urn:microsoft.com/office/officeart/2005/8/layout/hList1"/>
    <dgm:cxn modelId="{63B43A14-C1C7-4969-9D55-767EF24D6B21}" type="presOf" srcId="{B1D56709-3A7C-4639-9F64-8CF2DFC1EEAF}" destId="{F9540AD5-4F34-4720-A853-23023519F2F5}" srcOrd="0" destOrd="6" presId="urn:microsoft.com/office/officeart/2005/8/layout/hList1"/>
    <dgm:cxn modelId="{01AD5014-4F28-4426-95E6-AF48D3E6D80A}" srcId="{3F8F7C63-6D9D-4496-99F3-13DF66B8EAD6}" destId="{A05F72D0-69A6-4C7B-BB38-A1A0AB843EE4}" srcOrd="4" destOrd="0" parTransId="{62F7D189-29D3-4D68-9BF0-B0FAEE19B125}" sibTransId="{74C6F7AD-BBFB-49F3-9C3B-B861D5A124C6}"/>
    <dgm:cxn modelId="{E455D314-3C2C-445D-8605-B78D41BFD70B}" type="presOf" srcId="{FC2E9FD0-AD1A-4E81-8CE8-F5387731ACC5}" destId="{6BCC47BA-0C21-4EC9-8F7B-D9BCA5C8EC21}" srcOrd="0" destOrd="0" presId="urn:microsoft.com/office/officeart/2005/8/layout/hList1"/>
    <dgm:cxn modelId="{5A99B117-83E0-4DDA-9909-5A1A6250AD18}" srcId="{3F8F7C63-6D9D-4496-99F3-13DF66B8EAD6}" destId="{B1D56709-3A7C-4639-9F64-8CF2DFC1EEAF}" srcOrd="6" destOrd="0" parTransId="{CFEBF81F-9A13-4624-9116-3E4F01E99DAC}" sibTransId="{740B5291-618D-4B35-84FE-8EE5C299203E}"/>
    <dgm:cxn modelId="{37581F1C-5334-445E-829C-72AF65A4BDB2}" type="presOf" srcId="{AA0CC1A4-89B3-4AA2-AE39-4C1399639CA2}" destId="{6D51457A-C3C5-41AF-B616-CDB4705EBFBD}" srcOrd="0" destOrd="0" presId="urn:microsoft.com/office/officeart/2005/8/layout/hList1"/>
    <dgm:cxn modelId="{C7779020-8177-4DE9-A585-ADE6595A2EDA}" type="presOf" srcId="{AA78ED3C-C951-4F58-9959-01105C3C2617}" destId="{569DA3D3-C2E5-4089-A6F0-CF7A0DE5293E}" srcOrd="0" destOrd="2" presId="urn:microsoft.com/office/officeart/2005/8/layout/hList1"/>
    <dgm:cxn modelId="{00844724-3574-4BD7-A1D7-0DDFFF3FBF87}" type="presOf" srcId="{236D48B7-63A7-4285-9C6C-7AFF01B56D9D}" destId="{CD66AAD5-A74B-4989-8AD5-348B79FA87C7}" srcOrd="0" destOrd="5" presId="urn:microsoft.com/office/officeart/2005/8/layout/hList1"/>
    <dgm:cxn modelId="{987BE227-CEAA-47DE-803C-BDCA93CF7D97}" srcId="{3F8F7C63-6D9D-4496-99F3-13DF66B8EAD6}" destId="{BCDD3C48-E5A3-4417-86F3-B7128AC5B7B1}" srcOrd="9" destOrd="0" parTransId="{10E7CB6E-2AD1-4789-8237-7BEC72F1F1FA}" sibTransId="{DFA3E833-ED9A-4EA5-ACF4-749C666265D1}"/>
    <dgm:cxn modelId="{B9CB5028-8610-4C03-8D30-E47EEEDF1F12}" srcId="{3F8F7C63-6D9D-4496-99F3-13DF66B8EAD6}" destId="{8E896EB5-DC99-4BB3-B264-36E39DE7CEC8}" srcOrd="2" destOrd="0" parTransId="{D783B99B-ADFA-4D1B-A614-77EF61E71670}" sibTransId="{C765E2B2-5B2B-4F45-B628-B6251082CF94}"/>
    <dgm:cxn modelId="{C246DF29-2B2B-4568-8ECD-83F0560A3B95}" type="presOf" srcId="{C03E8993-A79B-42AB-A8B0-114B44B9CC95}" destId="{6BCC47BA-0C21-4EC9-8F7B-D9BCA5C8EC21}" srcOrd="0" destOrd="5" presId="urn:microsoft.com/office/officeart/2005/8/layout/hList1"/>
    <dgm:cxn modelId="{95F1422B-D2D2-4C16-B913-4506C14F30E2}" srcId="{5D730ECF-5E56-4BCC-9295-01AA7310EDA9}" destId="{58A2E522-E29C-4132-AC13-C3D4E644FA3C}" srcOrd="7" destOrd="0" parTransId="{E9E5FE19-EEBB-4197-8E3C-36FFB0A95F09}" sibTransId="{5D0976C6-ACD5-49EF-BDEC-DCDD2C61531D}"/>
    <dgm:cxn modelId="{EBA7442D-1D1C-485C-91DE-AE6B91BFBDF6}" type="presOf" srcId="{88D93969-2262-4FB9-8705-4D141334E937}" destId="{FE6D297C-C9E0-4A7D-A12A-BA53DEE78AEC}" srcOrd="0" destOrd="3" presId="urn:microsoft.com/office/officeart/2005/8/layout/hList1"/>
    <dgm:cxn modelId="{C8DB1D31-2C8D-4B6A-94F7-08BAA82BDD6D}" type="presOf" srcId="{D8FFB6A3-E449-44EE-97FD-14B7E5F1F078}" destId="{569DA3D3-C2E5-4089-A6F0-CF7A0DE5293E}" srcOrd="0" destOrd="6" presId="urn:microsoft.com/office/officeart/2005/8/layout/hList1"/>
    <dgm:cxn modelId="{E85E3132-EF8A-4793-AE98-63D9F856D2F9}" type="presOf" srcId="{A05F72D0-69A6-4C7B-BB38-A1A0AB843EE4}" destId="{F9540AD5-4F34-4720-A853-23023519F2F5}" srcOrd="0" destOrd="4" presId="urn:microsoft.com/office/officeart/2005/8/layout/hList1"/>
    <dgm:cxn modelId="{BCE1AE34-6AC8-4BE5-932E-B7A04062E7C6}" type="presOf" srcId="{B63A16E6-9473-45C1-842F-291CED23CD78}" destId="{569DA3D3-C2E5-4089-A6F0-CF7A0DE5293E}" srcOrd="0" destOrd="3" presId="urn:microsoft.com/office/officeart/2005/8/layout/hList1"/>
    <dgm:cxn modelId="{E89DCC35-4170-4CB2-A20C-EB81473BF897}" srcId="{5D730ECF-5E56-4BCC-9295-01AA7310EDA9}" destId="{24E91F4A-3897-4A0C-950E-4537F3FBB810}" srcOrd="6" destOrd="0" parTransId="{3FA903BF-7730-470C-B9B9-D24374440B2F}" sibTransId="{B56624A6-8E5F-4771-B1C0-E2E7A2D5FEA7}"/>
    <dgm:cxn modelId="{AFC3B238-B524-4D9D-9277-42388877E507}" type="presOf" srcId="{76AC8794-74F4-4EA8-BA8C-A90781232F54}" destId="{6BCC47BA-0C21-4EC9-8F7B-D9BCA5C8EC21}" srcOrd="0" destOrd="2" presId="urn:microsoft.com/office/officeart/2005/8/layout/hList1"/>
    <dgm:cxn modelId="{76EEBB3B-3E89-4F18-95D8-1A19F6518923}" srcId="{3F8F7C63-6D9D-4496-99F3-13DF66B8EAD6}" destId="{DCB7BB8A-CD35-4222-952A-62E0A9CA463F}" srcOrd="7" destOrd="0" parTransId="{A5148690-8224-4448-A595-C0900FCD59F3}" sibTransId="{34E54AF9-3437-46C4-B34E-177C1564BD59}"/>
    <dgm:cxn modelId="{B0D6FD5E-D622-4C75-951D-4FCFE47F2376}" srcId="{5D730ECF-5E56-4BCC-9295-01AA7310EDA9}" destId="{3E642F35-97D9-4849-9004-96A0F376220D}" srcOrd="2" destOrd="0" parTransId="{FC0A6F24-07E2-403B-9EB3-1E68DF92A7B9}" sibTransId="{E455CF66-9B12-4FAB-A0CC-01947E2B58B4}"/>
    <dgm:cxn modelId="{E22B1161-B875-42C3-872A-BA51DEFE8537}" srcId="{3F8F7C63-6D9D-4496-99F3-13DF66B8EAD6}" destId="{03D3870E-6E12-4A4A-99E8-B07254945176}" srcOrd="5" destOrd="0" parTransId="{A33E1C08-23D8-4E14-99AB-83006AD2583F}" sibTransId="{60E885CE-DE9F-4222-901B-F44A9519D4BC}"/>
    <dgm:cxn modelId="{59995761-1F05-4503-A942-A31774743FB6}" type="presOf" srcId="{A6C29D9B-FA0D-4C44-99F3-70A3C6A28ABC}" destId="{F9540AD5-4F34-4720-A853-23023519F2F5}" srcOrd="0" destOrd="3" presId="urn:microsoft.com/office/officeart/2005/8/layout/hList1"/>
    <dgm:cxn modelId="{C705DF45-B0B7-41EF-8645-435515E6A266}" srcId="{639BF8EA-4D33-4B30-911B-6776BADCAC46}" destId="{5DE25A94-6918-4273-9B5D-514CB3F59858}" srcOrd="1" destOrd="0" parTransId="{78ABE27B-1C98-4453-8F3E-300A620CDC95}" sibTransId="{02691541-E1A8-4AF1-B616-21CEAD1D89BB}"/>
    <dgm:cxn modelId="{C377A466-AD2B-45D6-AD4A-3D0F22318176}" srcId="{3F8F7C63-6D9D-4496-99F3-13DF66B8EAD6}" destId="{3FD82739-856C-477A-A9F2-F79000C2BD73}" srcOrd="8" destOrd="0" parTransId="{0D75DD0F-8D71-4417-84BC-EAD9CE83FA07}" sibTransId="{8EF37914-1361-4FCA-9D73-4AFC34BC2D51}"/>
    <dgm:cxn modelId="{F37D8A48-094D-4291-8663-3219EE933036}" type="presOf" srcId="{630C8C32-A979-40C7-BDD7-71A76577670D}" destId="{F9540AD5-4F34-4720-A853-23023519F2F5}" srcOrd="0" destOrd="0" presId="urn:microsoft.com/office/officeart/2005/8/layout/hList1"/>
    <dgm:cxn modelId="{DD6CFD48-3E16-43C5-A865-5F09FAD3FA51}" type="presOf" srcId="{24E91F4A-3897-4A0C-950E-4537F3FBB810}" destId="{CD66AAD5-A74B-4989-8AD5-348B79FA87C7}" srcOrd="0" destOrd="6" presId="urn:microsoft.com/office/officeart/2005/8/layout/hList1"/>
    <dgm:cxn modelId="{344F834E-2FCD-4079-840F-2D579BC3381A}" srcId="{639BF8EA-4D33-4B30-911B-6776BADCAC46}" destId="{B63A16E6-9473-45C1-842F-291CED23CD78}" srcOrd="3" destOrd="0" parTransId="{963CE28C-C1FE-46E3-AC82-1DFE8726E821}" sibTransId="{0388097F-781A-4438-A3B7-D80A77EFD73E}"/>
    <dgm:cxn modelId="{ADABC46F-5F7F-450F-A491-AF77B0223B23}" srcId="{3F8F7C63-6D9D-4496-99F3-13DF66B8EAD6}" destId="{ED0320A2-84EF-464D-BA55-8B9CA19360EB}" srcOrd="1" destOrd="0" parTransId="{733CED72-31D7-4D0C-A15C-D7391E674E4A}" sibTransId="{4A1D8552-EF71-45FB-A7C5-E3AF0407CC2D}"/>
    <dgm:cxn modelId="{46F53550-0107-4711-901A-8C35D4679E93}" type="presOf" srcId="{3F8F7C63-6D9D-4496-99F3-13DF66B8EAD6}" destId="{DEBF50E0-4517-471F-B18E-2795B1F5C0A8}" srcOrd="0" destOrd="0" presId="urn:microsoft.com/office/officeart/2005/8/layout/hList1"/>
    <dgm:cxn modelId="{12DA2772-2668-4319-8BD4-996C308E4C5C}" srcId="{639BF8EA-4D33-4B30-911B-6776BADCAC46}" destId="{7AE03F6D-A0A5-4C20-BC13-21EF09DC5CC4}" srcOrd="5" destOrd="0" parTransId="{06A9F93A-0F99-4DC0-AEE7-1C0B6A7249ED}" sibTransId="{D09FAE38-C505-4352-9685-99BB2BAB1ACF}"/>
    <dgm:cxn modelId="{1D679673-5FD6-4446-B5C4-EA13252864E0}" srcId="{AC11CA59-F486-473C-AE1A-BD3E159BD48A}" destId="{5D730ECF-5E56-4BCC-9295-01AA7310EDA9}" srcOrd="1" destOrd="0" parTransId="{B49ADB08-7DAD-4DCA-9B2B-46818BC4CFDF}" sibTransId="{9491BB27-9D09-4225-BBD1-073A5C5F0A21}"/>
    <dgm:cxn modelId="{0C9B4B54-471C-4DE0-B7ED-BD23FDC378DD}" type="presOf" srcId="{7AE03F6D-A0A5-4C20-BC13-21EF09DC5CC4}" destId="{569DA3D3-C2E5-4089-A6F0-CF7A0DE5293E}" srcOrd="0" destOrd="5" presId="urn:microsoft.com/office/officeart/2005/8/layout/hList1"/>
    <dgm:cxn modelId="{21295074-A0F9-420B-A47C-9A3D0F9247AC}" type="presOf" srcId="{5D730ECF-5E56-4BCC-9295-01AA7310EDA9}" destId="{A15940E0-E524-4386-893B-E5C857ACD0DE}" srcOrd="0" destOrd="0" presId="urn:microsoft.com/office/officeart/2005/8/layout/hList1"/>
    <dgm:cxn modelId="{2BCA7075-362C-4C9A-8187-DB08620C2EBE}" srcId="{DF86A6E5-580E-4F2A-B223-B458E5A97CE4}" destId="{269A5C72-57AF-4EA0-ACCE-C59B69488E35}" srcOrd="4" destOrd="0" parTransId="{6730243B-63FA-4E3A-A384-7D02129EAE6A}" sibTransId="{0F39171B-4944-4D51-B092-A62959DD54B0}"/>
    <dgm:cxn modelId="{B8C83676-32B6-414D-87A3-58819BB77685}" srcId="{639BF8EA-4D33-4B30-911B-6776BADCAC46}" destId="{AA78ED3C-C951-4F58-9959-01105C3C2617}" srcOrd="2" destOrd="0" parTransId="{80E848FA-6CC9-40FF-8A2E-3A173477A632}" sibTransId="{B7695E07-7C98-439E-95ED-062A66649E8F}"/>
    <dgm:cxn modelId="{A05C5356-BBB8-4364-AED6-495052AA1745}" srcId="{639BF8EA-4D33-4B30-911B-6776BADCAC46}" destId="{36C762CA-9B14-40FD-A3BF-8E60E97AACB0}" srcOrd="4" destOrd="0" parTransId="{F662D8E3-E924-425F-94A3-F55106F815C5}" sibTransId="{003494B5-C1F6-4CF6-91FF-D780D59A26B3}"/>
    <dgm:cxn modelId="{1A207F59-6EBD-4E05-ACBB-0575486B1888}" type="presOf" srcId="{40585278-DF6A-4768-8168-AFAA3D149FEC}" destId="{FE6D297C-C9E0-4A7D-A12A-BA53DEE78AEC}" srcOrd="0" destOrd="2"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3630CF93-9C0F-42C1-A7E3-12BADA9ACFE4}" srcId="{7AE03F6D-A0A5-4C20-BC13-21EF09DC5CC4}" destId="{D8FFB6A3-E449-44EE-97FD-14B7E5F1F078}" srcOrd="0" destOrd="0" parTransId="{F271BF60-0D47-4E01-B8F0-23881EE9F385}" sibTransId="{ACE66685-E908-479E-9B13-3E728B89578C}"/>
    <dgm:cxn modelId="{11AF3294-D720-46F7-A210-5C86B3113581}" type="presOf" srcId="{03D3870E-6E12-4A4A-99E8-B07254945176}" destId="{F9540AD5-4F34-4720-A853-23023519F2F5}" srcOrd="0" destOrd="5" presId="urn:microsoft.com/office/officeart/2005/8/layout/hList1"/>
    <dgm:cxn modelId="{DE6DA398-F2D2-4825-B1B7-40F17E6BD05B}" srcId="{3F8F7C63-6D9D-4496-99F3-13DF66B8EAD6}" destId="{A6C29D9B-FA0D-4C44-99F3-70A3C6A28ABC}" srcOrd="3" destOrd="0" parTransId="{30B991BB-59D0-46CE-B76F-A8E10A0E3AD2}" sibTransId="{C42FABC9-FC87-44F8-819D-67DCEC95CB19}"/>
    <dgm:cxn modelId="{8C63B698-8A4E-457D-994E-67C74BAEA65D}" srcId="{3F8F7C63-6D9D-4496-99F3-13DF66B8EAD6}" destId="{630C8C32-A979-40C7-BDD7-71A76577670D}" srcOrd="0" destOrd="0" parTransId="{A072B589-234B-4E81-93D6-F23076B69245}" sibTransId="{BC580252-AC53-48E5-98C9-B7684010D558}"/>
    <dgm:cxn modelId="{0051009A-8A76-40D1-9129-73FC09B3DB69}" type="presOf" srcId="{50147886-EAE7-4BEB-BA6C-F68DA6BF58EE}" destId="{FE6D297C-C9E0-4A7D-A12A-BA53DEE78AEC}" srcOrd="0" destOrd="1" presId="urn:microsoft.com/office/officeart/2005/8/layout/hList1"/>
    <dgm:cxn modelId="{450D699A-A0FB-4B92-8051-F8D7FA9F0243}" type="presOf" srcId="{624CB385-66B0-4EAE-9A0D-21C51F23C0FF}" destId="{FE6D297C-C9E0-4A7D-A12A-BA53DEE78AEC}" srcOrd="0" destOrd="5" presId="urn:microsoft.com/office/officeart/2005/8/layout/hList1"/>
    <dgm:cxn modelId="{4F69529A-BD8B-439E-8866-8C96C5A45BF9}" type="presOf" srcId="{58A2E522-E29C-4132-AC13-C3D4E644FA3C}" destId="{CD66AAD5-A74B-4989-8AD5-348B79FA87C7}" srcOrd="0" destOrd="7" presId="urn:microsoft.com/office/officeart/2005/8/layout/hList1"/>
    <dgm:cxn modelId="{3A16BE9C-5C16-43C7-92AE-5D9F366D5D99}" srcId="{5D730ECF-5E56-4BCC-9295-01AA7310EDA9}" destId="{E5BD9D08-D55A-4077-A266-63A3412B597C}" srcOrd="3" destOrd="0" parTransId="{6B05C7C0-09DD-451E-AE20-D6C396140BA4}" sibTransId="{BA576175-C61B-4F42-BBB2-1AF3DD04D2D8}"/>
    <dgm:cxn modelId="{DB52AA9F-F9CC-4A8E-AB0E-33BCDB036D5E}" srcId="{AA0CC1A4-89B3-4AA2-AE39-4C1399639CA2}" destId="{40585278-DF6A-4768-8168-AFAA3D149FEC}" srcOrd="2" destOrd="0" parTransId="{5C50C266-A519-446A-82D8-B40D8304A1B7}" sibTransId="{95C3AD48-8DBD-458D-B6BC-D77382399005}"/>
    <dgm:cxn modelId="{FBE15CA0-3717-497A-8E9A-018989822677}" srcId="{5D730ECF-5E56-4BCC-9295-01AA7310EDA9}" destId="{F44527D1-3623-4718-A5C7-590A95354660}" srcOrd="0" destOrd="0" parTransId="{5E7514FD-99DE-4412-9C1C-3D96F9C74494}" sibTransId="{07EC650E-232F-42AC-A156-321F455F5A3F}"/>
    <dgm:cxn modelId="{D1018BA4-D551-4AF8-AE83-3A349CE9146F}" type="presOf" srcId="{639BF8EA-4D33-4B30-911B-6776BADCAC46}" destId="{79AA2380-6C09-4C3E-A320-87D02EF11B92}" srcOrd="0" destOrd="0" presId="urn:microsoft.com/office/officeart/2005/8/layout/hList1"/>
    <dgm:cxn modelId="{46AC5DA6-931E-485C-80D5-609AA370BF3C}" srcId="{5D730ECF-5E56-4BCC-9295-01AA7310EDA9}" destId="{545A33F6-B5F6-426A-8C86-40CF9A69FDEB}" srcOrd="1" destOrd="0" parTransId="{35A6CFD5-75E6-454E-82A8-2EEB5B20D7C7}" sibTransId="{871627F3-A0BF-4926-ACF6-1AD098FB9865}"/>
    <dgm:cxn modelId="{7DEDE6A6-D5F6-4AFA-95DA-0F65625C743C}" srcId="{639BF8EA-4D33-4B30-911B-6776BADCAC46}" destId="{D8175AF9-F842-45F9-97DC-C69B2B6BBF53}" srcOrd="6" destOrd="0" parTransId="{790B86D8-9779-4A95-9728-106B465CDD3C}" sibTransId="{513B4DA5-7C2B-4D4D-9C48-E13269E1158D}"/>
    <dgm:cxn modelId="{499B0CA8-5A28-4F3A-AF92-30F09620EB6A}" type="presOf" srcId="{98E9E80D-99C6-4D95-ADA3-154C4B59F85F}" destId="{CD66AAD5-A74B-4989-8AD5-348B79FA87C7}" srcOrd="0" destOrd="4" presId="urn:microsoft.com/office/officeart/2005/8/layout/hList1"/>
    <dgm:cxn modelId="{4FAF80A8-3559-420C-991C-378325B0E176}" type="presOf" srcId="{DCB7BB8A-CD35-4222-952A-62E0A9CA463F}" destId="{F9540AD5-4F34-4720-A853-23023519F2F5}" srcOrd="0" destOrd="7" presId="urn:microsoft.com/office/officeart/2005/8/layout/hList1"/>
    <dgm:cxn modelId="{ACCE82A9-E050-4212-8FEF-F3BB00422909}" type="presOf" srcId="{3FD82739-856C-477A-A9F2-F79000C2BD73}" destId="{F9540AD5-4F34-4720-A853-23023519F2F5}" srcOrd="0" destOrd="8" presId="urn:microsoft.com/office/officeart/2005/8/layout/hList1"/>
    <dgm:cxn modelId="{B9A036AB-F55C-4ED8-88AB-A6656C71B526}" type="presOf" srcId="{269A5C72-57AF-4EA0-ACCE-C59B69488E35}" destId="{6BCC47BA-0C21-4EC9-8F7B-D9BCA5C8EC21}" srcOrd="0" destOrd="4"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1F0C73B1-EF50-4F66-9039-50A5177EFF6E}" type="presOf" srcId="{9610126D-8E49-4BC7-A0DB-A630B3EC4789}" destId="{FE6D297C-C9E0-4A7D-A12A-BA53DEE78AEC}" srcOrd="0" destOrd="4" presId="urn:microsoft.com/office/officeart/2005/8/layout/hList1"/>
    <dgm:cxn modelId="{0E79A9B2-4534-4C6A-A886-E0B7F324566B}" type="presOf" srcId="{C15E1527-ED8A-4127-96D3-A40FE5E9F551}" destId="{CD66AAD5-A74B-4989-8AD5-348B79FA87C7}" srcOrd="0" destOrd="8" presId="urn:microsoft.com/office/officeart/2005/8/layout/hList1"/>
    <dgm:cxn modelId="{7EA702B8-B43E-4292-BCA5-3123C2738346}" type="presOf" srcId="{E5BD9D08-D55A-4077-A266-63A3412B597C}" destId="{CD66AAD5-A74B-4989-8AD5-348B79FA87C7}" srcOrd="0" destOrd="3" presId="urn:microsoft.com/office/officeart/2005/8/layout/hList1"/>
    <dgm:cxn modelId="{2ACC45BA-7497-47FE-AD13-958DF8311CFE}" srcId="{AA0CC1A4-89B3-4AA2-AE39-4C1399639CA2}" destId="{50147886-EAE7-4BEB-BA6C-F68DA6BF58EE}" srcOrd="1" destOrd="0" parTransId="{1B03D5B8-A550-4C3B-B659-4BB18866FEE6}" sibTransId="{897C281A-AF25-4C78-B51E-5272CB605DBE}"/>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202B2BBF-62BE-4D26-8E3B-E4B0A1386412}" srcId="{5D730ECF-5E56-4BCC-9295-01AA7310EDA9}" destId="{98E9E80D-99C6-4D95-ADA3-154C4B59F85F}" srcOrd="4" destOrd="0" parTransId="{3C03EB72-6B54-48F4-8582-F81997B953D1}" sibTransId="{F8702242-78A9-478A-AA78-B0CC2FEB8CFB}"/>
    <dgm:cxn modelId="{70C8AFC0-C182-4576-96DA-EAECDBD4CEE1}" srcId="{5D730ECF-5E56-4BCC-9295-01AA7310EDA9}" destId="{C15E1527-ED8A-4127-96D3-A40FE5E9F551}" srcOrd="8" destOrd="0" parTransId="{F1F539FA-D668-4A01-9EF5-E9760A99DFC0}" sibTransId="{1A19537F-D665-449A-96C1-15D1F4CFFA74}"/>
    <dgm:cxn modelId="{E315A3C1-F2BB-47F0-AA6E-173A48EF57AB}" type="presOf" srcId="{8E896EB5-DC99-4BB3-B264-36E39DE7CEC8}" destId="{F9540AD5-4F34-4720-A853-23023519F2F5}" srcOrd="0" destOrd="2" presId="urn:microsoft.com/office/officeart/2005/8/layout/hList1"/>
    <dgm:cxn modelId="{1E130DC6-DD45-4BC4-825A-5EB61C250B47}" srcId="{AA0CC1A4-89B3-4AA2-AE39-4C1399639CA2}" destId="{88D93969-2262-4FB9-8705-4D141334E937}" srcOrd="3" destOrd="0" parTransId="{8A21C158-BC6D-470C-B4B1-9EEF6E089342}" sibTransId="{32EE6A0F-BF28-43FD-9D4A-636DBEF2E24A}"/>
    <dgm:cxn modelId="{B10F61CA-D3C2-4C90-B795-58850D21A922}" type="presOf" srcId="{BCDD3C48-E5A3-4417-86F3-B7128AC5B7B1}" destId="{F9540AD5-4F34-4720-A853-23023519F2F5}" srcOrd="0" destOrd="9" presId="urn:microsoft.com/office/officeart/2005/8/layout/hList1"/>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B78E6AD7-F2C4-4AC4-933E-267ADA7261A0}" type="presOf" srcId="{3009EBD5-8533-475D-BE3F-7DA7EB0BDAF2}" destId="{F9540AD5-4F34-4720-A853-23023519F2F5}" srcOrd="0" destOrd="10" presId="urn:microsoft.com/office/officeart/2005/8/layout/hList1"/>
    <dgm:cxn modelId="{427600DB-6877-49C6-AA0E-84C0B97F6DC7}" type="presOf" srcId="{ED0320A2-84EF-464D-BA55-8B9CA19360EB}" destId="{F9540AD5-4F34-4720-A853-23023519F2F5}" srcOrd="0" destOrd="1" presId="urn:microsoft.com/office/officeart/2005/8/layout/hList1"/>
    <dgm:cxn modelId="{4BE9F4DD-547B-46B8-9AE8-A49E60DC3E85}" type="presOf" srcId="{545A33F6-B5F6-426A-8C86-40CF9A69FDEB}" destId="{CD66AAD5-A74B-4989-8AD5-348B79FA87C7}" srcOrd="0" destOrd="1" presId="urn:microsoft.com/office/officeart/2005/8/layout/hList1"/>
    <dgm:cxn modelId="{E4EF17E2-2DCE-43D5-936E-214CA1E7EA30}" srcId="{DF86A6E5-580E-4F2A-B223-B458E5A97CE4}" destId="{983CF14A-D540-41C7-985B-5652F41CF489}" srcOrd="3" destOrd="0" parTransId="{2D2DEC59-26A6-45BD-B642-8013356B7F56}" sibTransId="{7A8877E4-83D1-47A7-9E1F-B6AA2D71D1A3}"/>
    <dgm:cxn modelId="{378405E4-A10D-4798-8747-535349689E09}" srcId="{DF86A6E5-580E-4F2A-B223-B458E5A97CE4}" destId="{76AC8794-74F4-4EA8-BA8C-A90781232F54}" srcOrd="2" destOrd="0" parTransId="{4BCE2351-28E8-4364-8A5F-1B2A645300C4}" sibTransId="{3E08878A-DE6F-4142-AE2A-F9927837BFB7}"/>
    <dgm:cxn modelId="{B329AEE8-4543-402A-AA06-29F3A101607E}" type="presOf" srcId="{DF86A6E5-580E-4F2A-B223-B458E5A97CE4}" destId="{19CDF2AB-3B0B-41CB-AD00-E99839314F1A}" srcOrd="0" destOrd="0" presId="urn:microsoft.com/office/officeart/2005/8/layout/hList1"/>
    <dgm:cxn modelId="{398B78E9-75B4-4C56-A1AE-6EF1BA813202}" type="presOf" srcId="{983CF14A-D540-41C7-985B-5652F41CF489}" destId="{6BCC47BA-0C21-4EC9-8F7B-D9BCA5C8EC21}" srcOrd="0" destOrd="3" presId="urn:microsoft.com/office/officeart/2005/8/layout/hList1"/>
    <dgm:cxn modelId="{D140A2EB-3F7E-42F4-996C-1F3B53C6C159}" type="presOf" srcId="{C6F6A35E-EF9D-42DB-9F6B-51AFF90BC98C}" destId="{FE6D297C-C9E0-4A7D-A12A-BA53DEE78AEC}" srcOrd="0" destOrd="0" presId="urn:microsoft.com/office/officeart/2005/8/layout/hList1"/>
    <dgm:cxn modelId="{7D186AED-01CD-425B-8B11-92BA4F6709E3}" srcId="{5D730ECF-5E56-4BCC-9295-01AA7310EDA9}" destId="{236D48B7-63A7-4285-9C6C-7AFF01B56D9D}" srcOrd="5" destOrd="0" parTransId="{13EDD0DB-D12A-4055-86FC-11CE01E96C7B}" sibTransId="{410012CC-317E-4CEA-BD64-8DB0C548B075}"/>
    <dgm:cxn modelId="{67458EED-3B15-411B-BC2A-944D5595F62C}" type="presOf" srcId="{D8175AF9-F842-45F9-97DC-C69B2B6BBF53}" destId="{569DA3D3-C2E5-4089-A6F0-CF7A0DE5293E}" srcOrd="0" destOrd="7" presId="urn:microsoft.com/office/officeart/2005/8/layout/hList1"/>
    <dgm:cxn modelId="{701AECED-5325-4295-A693-8267EF53B223}" type="presOf" srcId="{3E642F35-97D9-4849-9004-96A0F376220D}" destId="{CD66AAD5-A74B-4989-8AD5-348B79FA87C7}" srcOrd="0" destOrd="2" presId="urn:microsoft.com/office/officeart/2005/8/layout/hList1"/>
    <dgm:cxn modelId="{235AF3F2-4DC6-4ACE-9EC0-844AD822351F}" type="presOf" srcId="{8A005F68-872E-4565-97CF-5F934A8F7106}" destId="{569DA3D3-C2E5-4089-A6F0-CF7A0DE5293E}" srcOrd="0" destOrd="0" presId="urn:microsoft.com/office/officeart/2005/8/layout/hList1"/>
    <dgm:cxn modelId="{E96547F9-7650-4953-B80F-A932BA8449D0}" srcId="{AA0CC1A4-89B3-4AA2-AE39-4C1399639CA2}" destId="{6A0DAC46-074E-44D5-BC93-2A28D37093F5}" srcOrd="6" destOrd="0" parTransId="{5BD27BA4-E4AD-4969-8558-62A55EE05DA6}" sibTransId="{196479E3-B851-4A29-AAD0-46354CAD7D02}"/>
    <dgm:cxn modelId="{1394BDFB-E727-409D-8BB5-D3D2E6E5358D}" srcId="{AA0CC1A4-89B3-4AA2-AE39-4C1399639CA2}" destId="{624CB385-66B0-4EAE-9A0D-21C51F23C0FF}" srcOrd="5" destOrd="0" parTransId="{17722B10-61BA-4CF9-80CB-DC8F73C4175C}" sibTransId="{FEDFE2F1-E7A6-4E9A-BE0B-1D277CEBFD8C}"/>
    <dgm:cxn modelId="{7BAF2CFD-1919-4540-87BA-E3BD91F1FDBD}" srcId="{3F8F7C63-6D9D-4496-99F3-13DF66B8EAD6}" destId="{3009EBD5-8533-475D-BE3F-7DA7EB0BDAF2}" srcOrd="10" destOrd="0" parTransId="{078260EC-E067-48F8-94B9-B068CF335D61}" sibTransId="{DF7B415B-F4FE-4132-B4D6-C3D469631BF7}"/>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73B86F1-672D-4C00-8B05-A2E0148F397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79D0FE6A-8631-4617-99D3-432D5D1BFECF}">
      <dgm:prSet phldrT="[Text]"/>
      <dgm:spPr/>
      <dgm:t>
        <a:bodyPr/>
        <a:lstStyle/>
        <a:p>
          <a:r>
            <a:rPr lang="en-US"/>
            <a:t> </a:t>
          </a:r>
        </a:p>
      </dgm:t>
    </dgm:pt>
    <dgm:pt modelId="{FAAE1BEF-6075-4385-A4FF-4674D2B380C2}" type="parTrans" cxnId="{129C6107-BC19-42F9-B4CE-E9BBF6343285}">
      <dgm:prSet/>
      <dgm:spPr/>
      <dgm:t>
        <a:bodyPr/>
        <a:lstStyle/>
        <a:p>
          <a:endParaRPr lang="en-US"/>
        </a:p>
      </dgm:t>
    </dgm:pt>
    <dgm:pt modelId="{0D6A1090-693F-4D5C-BA89-E982DE705BA4}" type="sibTrans" cxnId="{129C6107-BC19-42F9-B4CE-E9BBF6343285}">
      <dgm:prSet/>
      <dgm:spPr/>
      <dgm:t>
        <a:bodyPr/>
        <a:lstStyle/>
        <a:p>
          <a:endParaRPr lang="en-US"/>
        </a:p>
      </dgm:t>
    </dgm:pt>
    <dgm:pt modelId="{1320E45B-555D-4421-BDDF-FE0471C88AC5}">
      <dgm:prSet phldrT="[Text]" phldr="1"/>
      <dgm:spPr/>
      <dgm:t>
        <a:bodyPr/>
        <a:lstStyle/>
        <a:p>
          <a:endParaRPr lang="en-US"/>
        </a:p>
      </dgm:t>
    </dgm:pt>
    <dgm:pt modelId="{E560D0C4-F736-4E81-B2EE-112FE2165470}" type="parTrans" cxnId="{0F298BDE-B9FA-4ECF-B0EB-DC8D2FC311BB}">
      <dgm:prSet/>
      <dgm:spPr/>
      <dgm:t>
        <a:bodyPr/>
        <a:lstStyle/>
        <a:p>
          <a:endParaRPr lang="en-US"/>
        </a:p>
      </dgm:t>
    </dgm:pt>
    <dgm:pt modelId="{7C70429D-002C-4988-B9AE-40D3691B052A}" type="sibTrans" cxnId="{0F298BDE-B9FA-4ECF-B0EB-DC8D2FC311BB}">
      <dgm:prSet/>
      <dgm:spPr/>
      <dgm:t>
        <a:bodyPr/>
        <a:lstStyle/>
        <a:p>
          <a:endParaRPr lang="en-US"/>
        </a:p>
      </dgm:t>
    </dgm:pt>
    <dgm:pt modelId="{05A3EFBB-1D6D-478D-B8BF-36F7A0173203}">
      <dgm:prSet phldrT="[Text]"/>
      <dgm:spPr/>
      <dgm:t>
        <a:bodyPr/>
        <a:lstStyle/>
        <a:p>
          <a:r>
            <a:rPr lang="en-US"/>
            <a:t> </a:t>
          </a:r>
        </a:p>
      </dgm:t>
    </dgm:pt>
    <dgm:pt modelId="{E417AB19-89CB-4350-96A4-BF47114567B3}" type="parTrans" cxnId="{1261AF6B-1113-4FD4-B575-300B64EB939C}">
      <dgm:prSet/>
      <dgm:spPr/>
      <dgm:t>
        <a:bodyPr/>
        <a:lstStyle/>
        <a:p>
          <a:endParaRPr lang="en-US"/>
        </a:p>
      </dgm:t>
    </dgm:pt>
    <dgm:pt modelId="{2FE64B8D-E7DB-45B8-8F04-412EE418A92C}" type="sibTrans" cxnId="{1261AF6B-1113-4FD4-B575-300B64EB939C}">
      <dgm:prSet/>
      <dgm:spPr/>
      <dgm:t>
        <a:bodyPr/>
        <a:lstStyle/>
        <a:p>
          <a:endParaRPr lang="en-US"/>
        </a:p>
      </dgm:t>
    </dgm:pt>
    <dgm:pt modelId="{ED9769E5-BC31-4080-AF0A-352A1747CD52}">
      <dgm:prSet phldrT="[Text]" phldr="1"/>
      <dgm:spPr/>
      <dgm:t>
        <a:bodyPr/>
        <a:lstStyle/>
        <a:p>
          <a:endParaRPr lang="en-US"/>
        </a:p>
      </dgm:t>
    </dgm:pt>
    <dgm:pt modelId="{7608946E-9522-415A-9657-34CAC0CBA95C}" type="parTrans" cxnId="{1875D5B1-4C37-4B3D-A0CF-D72CCCAA3952}">
      <dgm:prSet/>
      <dgm:spPr/>
      <dgm:t>
        <a:bodyPr/>
        <a:lstStyle/>
        <a:p>
          <a:endParaRPr lang="en-US"/>
        </a:p>
      </dgm:t>
    </dgm:pt>
    <dgm:pt modelId="{57826FFE-5655-4D66-B467-B6CAFC11706E}" type="sibTrans" cxnId="{1875D5B1-4C37-4B3D-A0CF-D72CCCAA3952}">
      <dgm:prSet/>
      <dgm:spPr/>
      <dgm:t>
        <a:bodyPr/>
        <a:lstStyle/>
        <a:p>
          <a:endParaRPr lang="en-US"/>
        </a:p>
      </dgm:t>
    </dgm:pt>
    <dgm:pt modelId="{5678F77A-2F16-4CA1-83D0-49DCDF12E6E5}">
      <dgm:prSet phldrT="[Text]"/>
      <dgm:spPr/>
      <dgm:t>
        <a:bodyPr/>
        <a:lstStyle/>
        <a:p>
          <a:r>
            <a:rPr lang="en-US"/>
            <a:t> </a:t>
          </a:r>
        </a:p>
      </dgm:t>
    </dgm:pt>
    <dgm:pt modelId="{37A2EE9D-0979-465D-8442-22FBCF172E2C}" type="parTrans" cxnId="{4653E7C2-D476-426A-A8B2-10642DEA68E3}">
      <dgm:prSet/>
      <dgm:spPr/>
      <dgm:t>
        <a:bodyPr/>
        <a:lstStyle/>
        <a:p>
          <a:endParaRPr lang="en-US"/>
        </a:p>
      </dgm:t>
    </dgm:pt>
    <dgm:pt modelId="{9EF3158C-299A-4776-85EE-388EC4E5E3E7}" type="sibTrans" cxnId="{4653E7C2-D476-426A-A8B2-10642DEA68E3}">
      <dgm:prSet/>
      <dgm:spPr/>
      <dgm:t>
        <a:bodyPr/>
        <a:lstStyle/>
        <a:p>
          <a:endParaRPr lang="en-US"/>
        </a:p>
      </dgm:t>
    </dgm:pt>
    <dgm:pt modelId="{4A14A3F6-D4F7-4D43-8B45-111FBCE06E0C}">
      <dgm:prSet phldrT="[Text]" phldr="1"/>
      <dgm:spPr/>
      <dgm:t>
        <a:bodyPr/>
        <a:lstStyle/>
        <a:p>
          <a:endParaRPr lang="en-US"/>
        </a:p>
      </dgm:t>
    </dgm:pt>
    <dgm:pt modelId="{402185CF-8E07-48DA-B0AF-38626C5BF980}" type="parTrans" cxnId="{5251E55D-FACB-4400-966A-655D6BB70469}">
      <dgm:prSet/>
      <dgm:spPr/>
      <dgm:t>
        <a:bodyPr/>
        <a:lstStyle/>
        <a:p>
          <a:endParaRPr lang="en-US"/>
        </a:p>
      </dgm:t>
    </dgm:pt>
    <dgm:pt modelId="{EAE83F9B-1E7A-44F7-8579-3AD12867E43A}" type="sibTrans" cxnId="{5251E55D-FACB-4400-966A-655D6BB70469}">
      <dgm:prSet/>
      <dgm:spPr/>
      <dgm:t>
        <a:bodyPr/>
        <a:lstStyle/>
        <a:p>
          <a:endParaRPr lang="en-US"/>
        </a:p>
      </dgm:t>
    </dgm:pt>
    <dgm:pt modelId="{163DE8B7-04AB-4965-9E8D-94D7BDE16441}" type="pres">
      <dgm:prSet presAssocID="{073B86F1-672D-4C00-8B05-A2E0148F397B}" presName="Name0" presStyleCnt="0">
        <dgm:presLayoutVars>
          <dgm:chMax/>
          <dgm:chPref/>
          <dgm:dir/>
          <dgm:animLvl val="lvl"/>
        </dgm:presLayoutVars>
      </dgm:prSet>
      <dgm:spPr/>
    </dgm:pt>
    <dgm:pt modelId="{C86B790C-68D9-4B0D-A372-B40C0318EEE0}" type="pres">
      <dgm:prSet presAssocID="{79D0FE6A-8631-4617-99D3-432D5D1BFECF}" presName="composite" presStyleCnt="0"/>
      <dgm:spPr/>
    </dgm:pt>
    <dgm:pt modelId="{F562FF5F-4CB5-4156-AB4A-9AD102D9E410}" type="pres">
      <dgm:prSet presAssocID="{79D0FE6A-8631-4617-99D3-432D5D1BFECF}" presName="Parent1" presStyleLbl="node1" presStyleIdx="0" presStyleCnt="6">
        <dgm:presLayoutVars>
          <dgm:chMax val="1"/>
          <dgm:chPref val="1"/>
          <dgm:bulletEnabled val="1"/>
        </dgm:presLayoutVars>
      </dgm:prSet>
      <dgm:spPr/>
    </dgm:pt>
    <dgm:pt modelId="{9DD42A24-5779-48B0-BA9D-7C0A1F099BBF}" type="pres">
      <dgm:prSet presAssocID="{79D0FE6A-8631-4617-99D3-432D5D1BFECF}" presName="Childtext1" presStyleLbl="revTx" presStyleIdx="0" presStyleCnt="3">
        <dgm:presLayoutVars>
          <dgm:chMax val="0"/>
          <dgm:chPref val="0"/>
          <dgm:bulletEnabled val="1"/>
        </dgm:presLayoutVars>
      </dgm:prSet>
      <dgm:spPr/>
    </dgm:pt>
    <dgm:pt modelId="{F49AEEFB-AA2B-46B1-A7A9-DAEA848C8E29}" type="pres">
      <dgm:prSet presAssocID="{79D0FE6A-8631-4617-99D3-432D5D1BFECF}" presName="BalanceSpacing" presStyleCnt="0"/>
      <dgm:spPr/>
    </dgm:pt>
    <dgm:pt modelId="{1ADAB952-9AB7-4228-9572-A6E694A51B63}" type="pres">
      <dgm:prSet presAssocID="{79D0FE6A-8631-4617-99D3-432D5D1BFECF}" presName="BalanceSpacing1" presStyleCnt="0"/>
      <dgm:spPr/>
    </dgm:pt>
    <dgm:pt modelId="{8E4679E0-60C8-4E67-8F57-A05B1532DD4A}" type="pres">
      <dgm:prSet presAssocID="{0D6A1090-693F-4D5C-BA89-E982DE705BA4}" presName="Accent1Text" presStyleLbl="node1" presStyleIdx="1" presStyleCnt="6"/>
      <dgm:spPr/>
    </dgm:pt>
    <dgm:pt modelId="{2C258299-386B-4C20-ABEB-72BE3D181C90}" type="pres">
      <dgm:prSet presAssocID="{0D6A1090-693F-4D5C-BA89-E982DE705BA4}" presName="spaceBetweenRectangles" presStyleCnt="0"/>
      <dgm:spPr/>
    </dgm:pt>
    <dgm:pt modelId="{EF25F9AB-651C-49C7-982B-A2E146948BBF}" type="pres">
      <dgm:prSet presAssocID="{05A3EFBB-1D6D-478D-B8BF-36F7A0173203}" presName="composite" presStyleCnt="0"/>
      <dgm:spPr/>
    </dgm:pt>
    <dgm:pt modelId="{256EEA0E-F153-4A09-88D3-C3A12EA074C9}" type="pres">
      <dgm:prSet presAssocID="{05A3EFBB-1D6D-478D-B8BF-36F7A0173203}" presName="Parent1" presStyleLbl="node1" presStyleIdx="2" presStyleCnt="6">
        <dgm:presLayoutVars>
          <dgm:chMax val="1"/>
          <dgm:chPref val="1"/>
          <dgm:bulletEnabled val="1"/>
        </dgm:presLayoutVars>
      </dgm:prSet>
      <dgm:spPr/>
    </dgm:pt>
    <dgm:pt modelId="{321E6BD8-E670-4A73-B7E6-702B1199A636}" type="pres">
      <dgm:prSet presAssocID="{05A3EFBB-1D6D-478D-B8BF-36F7A0173203}" presName="Childtext1" presStyleLbl="revTx" presStyleIdx="1" presStyleCnt="3">
        <dgm:presLayoutVars>
          <dgm:chMax val="0"/>
          <dgm:chPref val="0"/>
          <dgm:bulletEnabled val="1"/>
        </dgm:presLayoutVars>
      </dgm:prSet>
      <dgm:spPr/>
    </dgm:pt>
    <dgm:pt modelId="{F5CDAB07-BE02-4F73-A7C7-78B74336FC86}" type="pres">
      <dgm:prSet presAssocID="{05A3EFBB-1D6D-478D-B8BF-36F7A0173203}" presName="BalanceSpacing" presStyleCnt="0"/>
      <dgm:spPr/>
    </dgm:pt>
    <dgm:pt modelId="{EC1F5B13-574C-413B-AECC-B1BAE6BB8618}" type="pres">
      <dgm:prSet presAssocID="{05A3EFBB-1D6D-478D-B8BF-36F7A0173203}" presName="BalanceSpacing1" presStyleCnt="0"/>
      <dgm:spPr/>
    </dgm:pt>
    <dgm:pt modelId="{AD2BDA62-2AB9-4477-BA32-06AFEED18AC8}" type="pres">
      <dgm:prSet presAssocID="{2FE64B8D-E7DB-45B8-8F04-412EE418A92C}" presName="Accent1Text" presStyleLbl="node1" presStyleIdx="3" presStyleCnt="6"/>
      <dgm:spPr/>
    </dgm:pt>
    <dgm:pt modelId="{6626D412-2A03-44C5-B55F-E74045B84F30}" type="pres">
      <dgm:prSet presAssocID="{2FE64B8D-E7DB-45B8-8F04-412EE418A92C}" presName="spaceBetweenRectangles" presStyleCnt="0"/>
      <dgm:spPr/>
    </dgm:pt>
    <dgm:pt modelId="{8CB3FCEB-0D48-4CE7-82D9-CB4DD3C35815}" type="pres">
      <dgm:prSet presAssocID="{5678F77A-2F16-4CA1-83D0-49DCDF12E6E5}" presName="composite" presStyleCnt="0"/>
      <dgm:spPr/>
    </dgm:pt>
    <dgm:pt modelId="{B8B11624-282F-4CDD-B42B-1B2B7636449D}" type="pres">
      <dgm:prSet presAssocID="{5678F77A-2F16-4CA1-83D0-49DCDF12E6E5}" presName="Parent1" presStyleLbl="node1" presStyleIdx="4" presStyleCnt="6">
        <dgm:presLayoutVars>
          <dgm:chMax val="1"/>
          <dgm:chPref val="1"/>
          <dgm:bulletEnabled val="1"/>
        </dgm:presLayoutVars>
      </dgm:prSet>
      <dgm:spPr/>
    </dgm:pt>
    <dgm:pt modelId="{D4253934-9C1A-4C90-897B-2485D0634C17}" type="pres">
      <dgm:prSet presAssocID="{5678F77A-2F16-4CA1-83D0-49DCDF12E6E5}" presName="Childtext1" presStyleLbl="revTx" presStyleIdx="2" presStyleCnt="3">
        <dgm:presLayoutVars>
          <dgm:chMax val="0"/>
          <dgm:chPref val="0"/>
          <dgm:bulletEnabled val="1"/>
        </dgm:presLayoutVars>
      </dgm:prSet>
      <dgm:spPr/>
    </dgm:pt>
    <dgm:pt modelId="{73003A97-28E6-4865-9D24-1B488BC8789E}" type="pres">
      <dgm:prSet presAssocID="{5678F77A-2F16-4CA1-83D0-49DCDF12E6E5}" presName="BalanceSpacing" presStyleCnt="0"/>
      <dgm:spPr/>
    </dgm:pt>
    <dgm:pt modelId="{55B0568C-290E-48E2-B3E0-547EE1AC8784}" type="pres">
      <dgm:prSet presAssocID="{5678F77A-2F16-4CA1-83D0-49DCDF12E6E5}" presName="BalanceSpacing1" presStyleCnt="0"/>
      <dgm:spPr/>
    </dgm:pt>
    <dgm:pt modelId="{267FEEEA-DDE7-41B3-A859-A6C0A787DD04}" type="pres">
      <dgm:prSet presAssocID="{9EF3158C-299A-4776-85EE-388EC4E5E3E7}" presName="Accent1Text" presStyleLbl="node1" presStyleIdx="5" presStyleCnt="6"/>
      <dgm:spPr/>
    </dgm:pt>
  </dgm:ptLst>
  <dgm:cxnLst>
    <dgm:cxn modelId="{129C6107-BC19-42F9-B4CE-E9BBF6343285}" srcId="{073B86F1-672D-4C00-8B05-A2E0148F397B}" destId="{79D0FE6A-8631-4617-99D3-432D5D1BFECF}" srcOrd="0" destOrd="0" parTransId="{FAAE1BEF-6075-4385-A4FF-4674D2B380C2}" sibTransId="{0D6A1090-693F-4D5C-BA89-E982DE705BA4}"/>
    <dgm:cxn modelId="{6538492A-F5F8-45B0-BE56-C00B66368940}" type="presOf" srcId="{2FE64B8D-E7DB-45B8-8F04-412EE418A92C}" destId="{AD2BDA62-2AB9-4477-BA32-06AFEED18AC8}" srcOrd="0" destOrd="0" presId="urn:microsoft.com/office/officeart/2008/layout/AlternatingHexagons"/>
    <dgm:cxn modelId="{18CD7240-BC70-4D25-A473-3DFC36F4DE2E}" type="presOf" srcId="{1320E45B-555D-4421-BDDF-FE0471C88AC5}" destId="{9DD42A24-5779-48B0-BA9D-7C0A1F099BBF}" srcOrd="0" destOrd="0" presId="urn:microsoft.com/office/officeart/2008/layout/AlternatingHexagons"/>
    <dgm:cxn modelId="{5251E55D-FACB-4400-966A-655D6BB70469}" srcId="{5678F77A-2F16-4CA1-83D0-49DCDF12E6E5}" destId="{4A14A3F6-D4F7-4D43-8B45-111FBCE06E0C}" srcOrd="0" destOrd="0" parTransId="{402185CF-8E07-48DA-B0AF-38626C5BF980}" sibTransId="{EAE83F9B-1E7A-44F7-8579-3AD12867E43A}"/>
    <dgm:cxn modelId="{1261AF6B-1113-4FD4-B575-300B64EB939C}" srcId="{073B86F1-672D-4C00-8B05-A2E0148F397B}" destId="{05A3EFBB-1D6D-478D-B8BF-36F7A0173203}" srcOrd="1" destOrd="0" parTransId="{E417AB19-89CB-4350-96A4-BF47114567B3}" sibTransId="{2FE64B8D-E7DB-45B8-8F04-412EE418A92C}"/>
    <dgm:cxn modelId="{CC693D73-9BAD-48C5-8951-08BC6CDA4D98}" type="presOf" srcId="{05A3EFBB-1D6D-478D-B8BF-36F7A0173203}" destId="{256EEA0E-F153-4A09-88D3-C3A12EA074C9}" srcOrd="0" destOrd="0" presId="urn:microsoft.com/office/officeart/2008/layout/AlternatingHexagons"/>
    <dgm:cxn modelId="{BD179A77-92BC-46C5-85AF-C076D52A4BEB}" type="presOf" srcId="{9EF3158C-299A-4776-85EE-388EC4E5E3E7}" destId="{267FEEEA-DDE7-41B3-A859-A6C0A787DD04}" srcOrd="0" destOrd="0" presId="urn:microsoft.com/office/officeart/2008/layout/AlternatingHexagons"/>
    <dgm:cxn modelId="{CEDC617F-E4D4-468F-83B7-46B1D059F29C}" type="presOf" srcId="{5678F77A-2F16-4CA1-83D0-49DCDF12E6E5}" destId="{B8B11624-282F-4CDD-B42B-1B2B7636449D}" srcOrd="0" destOrd="0" presId="urn:microsoft.com/office/officeart/2008/layout/AlternatingHexagons"/>
    <dgm:cxn modelId="{AB6D9294-BD51-4FD1-A89D-9D193178F358}" type="presOf" srcId="{0D6A1090-693F-4D5C-BA89-E982DE705BA4}" destId="{8E4679E0-60C8-4E67-8F57-A05B1532DD4A}" srcOrd="0" destOrd="0" presId="urn:microsoft.com/office/officeart/2008/layout/AlternatingHexagons"/>
    <dgm:cxn modelId="{3DD8B89C-4D7B-4962-A365-4F9DAB0DDEE6}" type="presOf" srcId="{ED9769E5-BC31-4080-AF0A-352A1747CD52}" destId="{321E6BD8-E670-4A73-B7E6-702B1199A636}" srcOrd="0" destOrd="0" presId="urn:microsoft.com/office/officeart/2008/layout/AlternatingHexagons"/>
    <dgm:cxn modelId="{A812C7A5-5E91-4751-B787-3387BE169855}" type="presOf" srcId="{4A14A3F6-D4F7-4D43-8B45-111FBCE06E0C}" destId="{D4253934-9C1A-4C90-897B-2485D0634C17}" srcOrd="0" destOrd="0" presId="urn:microsoft.com/office/officeart/2008/layout/AlternatingHexagons"/>
    <dgm:cxn modelId="{1875D5B1-4C37-4B3D-A0CF-D72CCCAA3952}" srcId="{05A3EFBB-1D6D-478D-B8BF-36F7A0173203}" destId="{ED9769E5-BC31-4080-AF0A-352A1747CD52}" srcOrd="0" destOrd="0" parTransId="{7608946E-9522-415A-9657-34CAC0CBA95C}" sibTransId="{57826FFE-5655-4D66-B467-B6CAFC11706E}"/>
    <dgm:cxn modelId="{2EB95CC2-1895-476E-BD01-80772A16ECE8}" type="presOf" srcId="{073B86F1-672D-4C00-8B05-A2E0148F397B}" destId="{163DE8B7-04AB-4965-9E8D-94D7BDE16441}" srcOrd="0" destOrd="0" presId="urn:microsoft.com/office/officeart/2008/layout/AlternatingHexagons"/>
    <dgm:cxn modelId="{4653E7C2-D476-426A-A8B2-10642DEA68E3}" srcId="{073B86F1-672D-4C00-8B05-A2E0148F397B}" destId="{5678F77A-2F16-4CA1-83D0-49DCDF12E6E5}" srcOrd="2" destOrd="0" parTransId="{37A2EE9D-0979-465D-8442-22FBCF172E2C}" sibTransId="{9EF3158C-299A-4776-85EE-388EC4E5E3E7}"/>
    <dgm:cxn modelId="{A0D68CDA-7B6A-4DE7-AE75-47BA30B265CA}" type="presOf" srcId="{79D0FE6A-8631-4617-99D3-432D5D1BFECF}" destId="{F562FF5F-4CB5-4156-AB4A-9AD102D9E410}" srcOrd="0" destOrd="0" presId="urn:microsoft.com/office/officeart/2008/layout/AlternatingHexagons"/>
    <dgm:cxn modelId="{0F298BDE-B9FA-4ECF-B0EB-DC8D2FC311BB}" srcId="{79D0FE6A-8631-4617-99D3-432D5D1BFECF}" destId="{1320E45B-555D-4421-BDDF-FE0471C88AC5}" srcOrd="0" destOrd="0" parTransId="{E560D0C4-F736-4E81-B2EE-112FE2165470}" sibTransId="{7C70429D-002C-4988-B9AE-40D3691B052A}"/>
    <dgm:cxn modelId="{7E85CE18-00F6-4A6F-83B1-C1B182061424}" type="presParOf" srcId="{163DE8B7-04AB-4965-9E8D-94D7BDE16441}" destId="{C86B790C-68D9-4B0D-A372-B40C0318EEE0}" srcOrd="0" destOrd="0" presId="urn:microsoft.com/office/officeart/2008/layout/AlternatingHexagons"/>
    <dgm:cxn modelId="{1ADCADF3-A71C-417F-B25A-71BCCC661753}" type="presParOf" srcId="{C86B790C-68D9-4B0D-A372-B40C0318EEE0}" destId="{F562FF5F-4CB5-4156-AB4A-9AD102D9E410}" srcOrd="0" destOrd="0" presId="urn:microsoft.com/office/officeart/2008/layout/AlternatingHexagons"/>
    <dgm:cxn modelId="{EC88A1F3-70FD-4C07-8BB7-0CAFFA14C7FB}" type="presParOf" srcId="{C86B790C-68D9-4B0D-A372-B40C0318EEE0}" destId="{9DD42A24-5779-48B0-BA9D-7C0A1F099BBF}" srcOrd="1" destOrd="0" presId="urn:microsoft.com/office/officeart/2008/layout/AlternatingHexagons"/>
    <dgm:cxn modelId="{A5F76121-2C0A-4CD6-A79F-A99F6D50068A}" type="presParOf" srcId="{C86B790C-68D9-4B0D-A372-B40C0318EEE0}" destId="{F49AEEFB-AA2B-46B1-A7A9-DAEA848C8E29}" srcOrd="2" destOrd="0" presId="urn:microsoft.com/office/officeart/2008/layout/AlternatingHexagons"/>
    <dgm:cxn modelId="{D1E07C1B-83EB-475D-A886-2E65E052C4CB}" type="presParOf" srcId="{C86B790C-68D9-4B0D-A372-B40C0318EEE0}" destId="{1ADAB952-9AB7-4228-9572-A6E694A51B63}" srcOrd="3" destOrd="0" presId="urn:microsoft.com/office/officeart/2008/layout/AlternatingHexagons"/>
    <dgm:cxn modelId="{2C0E1326-022D-41E5-A6C6-271B9CFEBA17}" type="presParOf" srcId="{C86B790C-68D9-4B0D-A372-B40C0318EEE0}" destId="{8E4679E0-60C8-4E67-8F57-A05B1532DD4A}" srcOrd="4" destOrd="0" presId="urn:microsoft.com/office/officeart/2008/layout/AlternatingHexagons"/>
    <dgm:cxn modelId="{5E23F838-0A9E-4B88-854F-D2EC5912BB47}" type="presParOf" srcId="{163DE8B7-04AB-4965-9E8D-94D7BDE16441}" destId="{2C258299-386B-4C20-ABEB-72BE3D181C90}" srcOrd="1" destOrd="0" presId="urn:microsoft.com/office/officeart/2008/layout/AlternatingHexagons"/>
    <dgm:cxn modelId="{B1521464-C876-4F4F-9A27-7A55A8E1C892}" type="presParOf" srcId="{163DE8B7-04AB-4965-9E8D-94D7BDE16441}" destId="{EF25F9AB-651C-49C7-982B-A2E146948BBF}" srcOrd="2" destOrd="0" presId="urn:microsoft.com/office/officeart/2008/layout/AlternatingHexagons"/>
    <dgm:cxn modelId="{A01478C9-7A8D-4FFC-9F18-B677D4A83A05}" type="presParOf" srcId="{EF25F9AB-651C-49C7-982B-A2E146948BBF}" destId="{256EEA0E-F153-4A09-88D3-C3A12EA074C9}" srcOrd="0" destOrd="0" presId="urn:microsoft.com/office/officeart/2008/layout/AlternatingHexagons"/>
    <dgm:cxn modelId="{BD501970-6554-4CEC-AEF1-244D6F3F2567}" type="presParOf" srcId="{EF25F9AB-651C-49C7-982B-A2E146948BBF}" destId="{321E6BD8-E670-4A73-B7E6-702B1199A636}" srcOrd="1" destOrd="0" presId="urn:microsoft.com/office/officeart/2008/layout/AlternatingHexagons"/>
    <dgm:cxn modelId="{725716EF-C294-4009-A3EC-7ED17DC66737}" type="presParOf" srcId="{EF25F9AB-651C-49C7-982B-A2E146948BBF}" destId="{F5CDAB07-BE02-4F73-A7C7-78B74336FC86}" srcOrd="2" destOrd="0" presId="urn:microsoft.com/office/officeart/2008/layout/AlternatingHexagons"/>
    <dgm:cxn modelId="{35DB2305-3578-4035-8EAB-EB6177621EE3}" type="presParOf" srcId="{EF25F9AB-651C-49C7-982B-A2E146948BBF}" destId="{EC1F5B13-574C-413B-AECC-B1BAE6BB8618}" srcOrd="3" destOrd="0" presId="urn:microsoft.com/office/officeart/2008/layout/AlternatingHexagons"/>
    <dgm:cxn modelId="{DCDA6A39-2357-412B-AEA6-01D078EC453E}" type="presParOf" srcId="{EF25F9AB-651C-49C7-982B-A2E146948BBF}" destId="{AD2BDA62-2AB9-4477-BA32-06AFEED18AC8}" srcOrd="4" destOrd="0" presId="urn:microsoft.com/office/officeart/2008/layout/AlternatingHexagons"/>
    <dgm:cxn modelId="{961DC1F7-2009-42E5-AEF2-6BA98E399666}" type="presParOf" srcId="{163DE8B7-04AB-4965-9E8D-94D7BDE16441}" destId="{6626D412-2A03-44C5-B55F-E74045B84F30}" srcOrd="3" destOrd="0" presId="urn:microsoft.com/office/officeart/2008/layout/AlternatingHexagons"/>
    <dgm:cxn modelId="{F7A8C788-9A69-47C5-BDAE-443D43B29A33}" type="presParOf" srcId="{163DE8B7-04AB-4965-9E8D-94D7BDE16441}" destId="{8CB3FCEB-0D48-4CE7-82D9-CB4DD3C35815}" srcOrd="4" destOrd="0" presId="urn:microsoft.com/office/officeart/2008/layout/AlternatingHexagons"/>
    <dgm:cxn modelId="{466E1309-595E-4C46-93D8-3A986749B2BD}" type="presParOf" srcId="{8CB3FCEB-0D48-4CE7-82D9-CB4DD3C35815}" destId="{B8B11624-282F-4CDD-B42B-1B2B7636449D}" srcOrd="0" destOrd="0" presId="urn:microsoft.com/office/officeart/2008/layout/AlternatingHexagons"/>
    <dgm:cxn modelId="{2AC5D572-484C-4245-8836-48842EA42229}" type="presParOf" srcId="{8CB3FCEB-0D48-4CE7-82D9-CB4DD3C35815}" destId="{D4253934-9C1A-4C90-897B-2485D0634C17}" srcOrd="1" destOrd="0" presId="urn:microsoft.com/office/officeart/2008/layout/AlternatingHexagons"/>
    <dgm:cxn modelId="{4B0EDA64-1ED9-4E46-B9C3-3CF4DC1CF34D}" type="presParOf" srcId="{8CB3FCEB-0D48-4CE7-82D9-CB4DD3C35815}" destId="{73003A97-28E6-4865-9D24-1B488BC8789E}" srcOrd="2" destOrd="0" presId="urn:microsoft.com/office/officeart/2008/layout/AlternatingHexagons"/>
    <dgm:cxn modelId="{67483A9B-4952-461F-8FCA-B6B03066B882}" type="presParOf" srcId="{8CB3FCEB-0D48-4CE7-82D9-CB4DD3C35815}" destId="{55B0568C-290E-48E2-B3E0-547EE1AC8784}" srcOrd="3" destOrd="0" presId="urn:microsoft.com/office/officeart/2008/layout/AlternatingHexagons"/>
    <dgm:cxn modelId="{74A21A65-1D4D-470A-B8C2-01DC9BCE8262}" type="presParOf" srcId="{8CB3FCEB-0D48-4CE7-82D9-CB4DD3C35815}" destId="{267FEEEA-DDE7-41B3-A859-A6C0A787DD04}" srcOrd="4" destOrd="0" presId="urn:microsoft.com/office/officeart/2008/layout/AlternatingHexagon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CA689BB-9851-4758-B0A2-44952127A0D6}" type="doc">
      <dgm:prSet loTypeId="urn:microsoft.com/office/officeart/2005/8/layout/pyramid1" loCatId="pyramid" qsTypeId="urn:microsoft.com/office/officeart/2005/8/quickstyle/simple1" qsCatId="simple" csTypeId="urn:microsoft.com/office/officeart/2005/8/colors/accent1_2" csCatId="accent1" phldr="1"/>
      <dgm:spPr/>
    </dgm:pt>
    <dgm:pt modelId="{2D4708E9-EF6B-4110-93A4-B0C73A203109}">
      <dgm:prSet phldrT="[Text]" custT="1"/>
      <dgm:spPr>
        <a:solidFill>
          <a:srgbClr val="14848F"/>
        </a:solidFill>
      </dgm:spPr>
      <dgm:t>
        <a:bodyPr/>
        <a:lstStyle/>
        <a:p>
          <a:br>
            <a:rPr lang="en-US" sz="1200" b="1">
              <a:solidFill>
                <a:schemeClr val="bg1"/>
              </a:solidFill>
            </a:rPr>
          </a:br>
          <a:br>
            <a:rPr lang="en-US" sz="1200" b="1">
              <a:solidFill>
                <a:schemeClr val="bg1"/>
              </a:solidFill>
            </a:rPr>
          </a:br>
          <a:br>
            <a:rPr lang="en-US" sz="1200" b="1">
              <a:solidFill>
                <a:schemeClr val="bg1"/>
              </a:solidFill>
            </a:rPr>
          </a:br>
          <a:br>
            <a:rPr lang="en-US" sz="1200" b="1">
              <a:solidFill>
                <a:schemeClr val="bg1"/>
              </a:solidFill>
            </a:rPr>
          </a:br>
          <a:r>
            <a:rPr lang="en-US" sz="1200" b="1">
              <a:solidFill>
                <a:schemeClr val="bg1"/>
              </a:solidFill>
            </a:rPr>
            <a:t>Power </a:t>
          </a:r>
          <a:br>
            <a:rPr lang="en-US" sz="1200" b="1">
              <a:solidFill>
                <a:schemeClr val="bg1"/>
              </a:solidFill>
            </a:rPr>
          </a:br>
          <a:r>
            <a:rPr lang="en-US" sz="1200" b="1">
              <a:solidFill>
                <a:schemeClr val="bg1"/>
              </a:solidFill>
            </a:rPr>
            <a:t>Virtual Agents</a:t>
          </a:r>
        </a:p>
      </dgm:t>
    </dgm:pt>
    <dgm:pt modelId="{9101C663-4F32-4A06-AD8E-F085ADD1CEF7}" type="parTrans" cxnId="{33087E07-DF36-4B83-9592-3D5990424564}">
      <dgm:prSet/>
      <dgm:spPr/>
      <dgm:t>
        <a:bodyPr/>
        <a:lstStyle/>
        <a:p>
          <a:endParaRPr lang="en-US">
            <a:solidFill>
              <a:schemeClr val="bg1"/>
            </a:solidFill>
          </a:endParaRPr>
        </a:p>
      </dgm:t>
    </dgm:pt>
    <dgm:pt modelId="{A512244F-A508-40C1-8CCD-ACD6B7644B1A}" type="sibTrans" cxnId="{33087E07-DF36-4B83-9592-3D5990424564}">
      <dgm:prSet/>
      <dgm:spPr/>
      <dgm:t>
        <a:bodyPr/>
        <a:lstStyle/>
        <a:p>
          <a:endParaRPr lang="en-US">
            <a:solidFill>
              <a:schemeClr val="bg1"/>
            </a:solidFill>
          </a:endParaRPr>
        </a:p>
      </dgm:t>
    </dgm:pt>
    <dgm:pt modelId="{6F180097-45F6-4633-A7BA-48263CF4B682}">
      <dgm:prSet phldrT="[Text]" custT="1"/>
      <dgm:spPr>
        <a:solidFill>
          <a:schemeClr val="bg2">
            <a:lumMod val="90000"/>
          </a:schemeClr>
        </a:solidFill>
      </dgm:spPr>
      <dgm:t>
        <a:bodyPr lIns="0" rIns="0"/>
        <a:lstStyle/>
        <a:p>
          <a:br>
            <a:rPr lang="en-US" sz="1200" b="1">
              <a:solidFill>
                <a:schemeClr val="bg1"/>
              </a:solidFill>
            </a:rPr>
          </a:br>
          <a:br>
            <a:rPr lang="en-US" sz="1200" b="1">
              <a:solidFill>
                <a:schemeClr val="bg1"/>
              </a:solidFill>
            </a:rPr>
          </a:br>
          <a:br>
            <a:rPr lang="en-US" sz="1200" b="1">
              <a:solidFill>
                <a:schemeClr val="bg1"/>
              </a:solidFill>
            </a:rPr>
          </a:br>
          <a:r>
            <a:rPr lang="en-US" sz="1200" b="1">
              <a:solidFill>
                <a:schemeClr val="bg1"/>
              </a:solidFill>
            </a:rPr>
            <a:t>Power Platform</a:t>
          </a:r>
          <a:br>
            <a:rPr lang="en-US" sz="1200" b="1">
              <a:solidFill>
                <a:schemeClr val="bg1"/>
              </a:solidFill>
            </a:rPr>
          </a:br>
          <a:r>
            <a:rPr lang="en-US" sz="1200" b="0">
              <a:solidFill>
                <a:schemeClr val="bg1"/>
              </a:solidFill>
            </a:rPr>
            <a:t>Access to Flow, custom models through AI Builders and 100s of pre-built connectors</a:t>
          </a:r>
        </a:p>
      </dgm:t>
    </dgm:pt>
    <dgm:pt modelId="{5676EB2C-3901-4F2D-843A-0034514FC257}" type="parTrans" cxnId="{5C641A40-E02E-4CCA-87BE-78EDDB341024}">
      <dgm:prSet/>
      <dgm:spPr/>
      <dgm:t>
        <a:bodyPr/>
        <a:lstStyle/>
        <a:p>
          <a:endParaRPr lang="en-US">
            <a:solidFill>
              <a:schemeClr val="bg1"/>
            </a:solidFill>
          </a:endParaRPr>
        </a:p>
      </dgm:t>
    </dgm:pt>
    <dgm:pt modelId="{722B9046-FAF6-4A05-AA6E-062351CDA617}" type="sibTrans" cxnId="{5C641A40-E02E-4CCA-87BE-78EDDB341024}">
      <dgm:prSet/>
      <dgm:spPr/>
      <dgm:t>
        <a:bodyPr/>
        <a:lstStyle/>
        <a:p>
          <a:endParaRPr lang="en-US">
            <a:solidFill>
              <a:schemeClr val="bg1"/>
            </a:solidFill>
          </a:endParaRPr>
        </a:p>
      </dgm:t>
    </dgm:pt>
    <dgm:pt modelId="{9B7ADE21-A710-43A9-8CC3-C06271374498}">
      <dgm:prSet phldrT="[Text]" custT="1"/>
      <dgm:spPr>
        <a:solidFill>
          <a:schemeClr val="bg2">
            <a:lumMod val="75000"/>
          </a:schemeClr>
        </a:solidFill>
      </dgm:spPr>
      <dgm:t>
        <a:bodyPr/>
        <a:lstStyle/>
        <a:p>
          <a:br>
            <a:rPr lang="en-US" sz="1200" b="1">
              <a:solidFill>
                <a:schemeClr val="bg1"/>
              </a:solidFill>
            </a:rPr>
          </a:br>
          <a:r>
            <a:rPr lang="en-US" sz="1200" b="1">
              <a:solidFill>
                <a:schemeClr val="bg1"/>
              </a:solidFill>
            </a:rPr>
            <a:t>Azure Bot Service</a:t>
          </a:r>
          <a:br>
            <a:rPr lang="en-US" sz="1200" b="1">
              <a:solidFill>
                <a:schemeClr val="bg1"/>
              </a:solidFill>
            </a:rPr>
          </a:br>
          <a:r>
            <a:rPr lang="en-US" sz="1200" b="0">
              <a:solidFill>
                <a:schemeClr val="bg1"/>
              </a:solidFill>
            </a:rPr>
            <a:t>Easy, no-cliff access to the full power </a:t>
          </a:r>
          <a:br>
            <a:rPr lang="en-US" sz="1200" b="0">
              <a:solidFill>
                <a:schemeClr val="bg1"/>
              </a:solidFill>
            </a:rPr>
          </a:br>
          <a:r>
            <a:rPr lang="en-US" sz="1200" b="0">
              <a:solidFill>
                <a:schemeClr val="bg1"/>
              </a:solidFill>
            </a:rPr>
            <a:t>of the Azure Bot Framework</a:t>
          </a:r>
          <a:endParaRPr lang="en-US" sz="1200" b="1">
            <a:solidFill>
              <a:schemeClr val="bg1"/>
            </a:solidFill>
          </a:endParaRPr>
        </a:p>
      </dgm:t>
    </dgm:pt>
    <dgm:pt modelId="{27960F5F-6046-405E-8C01-3A47B7398B73}" type="parTrans" cxnId="{A4B1799A-2C21-43F8-98FF-1493FE73D3E7}">
      <dgm:prSet/>
      <dgm:spPr/>
      <dgm:t>
        <a:bodyPr/>
        <a:lstStyle/>
        <a:p>
          <a:endParaRPr lang="en-US">
            <a:solidFill>
              <a:schemeClr val="bg1"/>
            </a:solidFill>
          </a:endParaRPr>
        </a:p>
      </dgm:t>
    </dgm:pt>
    <dgm:pt modelId="{6FEFC5EE-6496-47E0-B1A6-3FB4E64C56E8}" type="sibTrans" cxnId="{A4B1799A-2C21-43F8-98FF-1493FE73D3E7}">
      <dgm:prSet/>
      <dgm:spPr/>
      <dgm:t>
        <a:bodyPr/>
        <a:lstStyle/>
        <a:p>
          <a:endParaRPr lang="en-US">
            <a:solidFill>
              <a:schemeClr val="bg1"/>
            </a:solidFill>
          </a:endParaRPr>
        </a:p>
      </dgm:t>
    </dgm:pt>
    <dgm:pt modelId="{A42CF368-5F0E-42FD-8945-0486D2386434}">
      <dgm:prSet phldrT="[Text]" custT="1"/>
      <dgm:spPr>
        <a:solidFill>
          <a:schemeClr val="tx1">
            <a:lumMod val="50000"/>
            <a:lumOff val="50000"/>
          </a:schemeClr>
        </a:solidFill>
      </dgm:spPr>
      <dgm:t>
        <a:bodyPr/>
        <a:lstStyle/>
        <a:p>
          <a:br>
            <a:rPr lang="en-US" sz="1200" b="1">
              <a:solidFill>
                <a:schemeClr val="bg1"/>
              </a:solidFill>
            </a:rPr>
          </a:br>
          <a:r>
            <a:rPr lang="en-US" sz="1200" b="1">
              <a:solidFill>
                <a:schemeClr val="bg1"/>
              </a:solidFill>
            </a:rPr>
            <a:t>Azure Cognitive Services</a:t>
          </a:r>
        </a:p>
        <a:p>
          <a:r>
            <a:rPr lang="en-US" sz="1200" b="0">
              <a:solidFill>
                <a:schemeClr val="bg1"/>
              </a:solidFill>
            </a:rPr>
            <a:t>Integrated with Azure Cognitive Services</a:t>
          </a:r>
        </a:p>
      </dgm:t>
    </dgm:pt>
    <dgm:pt modelId="{6FD05D23-419B-4906-B7CE-7B428792EADE}" type="parTrans" cxnId="{D52B2716-6097-4A5A-AE02-B61064A70D65}">
      <dgm:prSet/>
      <dgm:spPr/>
      <dgm:t>
        <a:bodyPr/>
        <a:lstStyle/>
        <a:p>
          <a:endParaRPr lang="en-US">
            <a:solidFill>
              <a:schemeClr val="bg1"/>
            </a:solidFill>
          </a:endParaRPr>
        </a:p>
      </dgm:t>
    </dgm:pt>
    <dgm:pt modelId="{01194177-4336-43A4-8F8F-8B68CCCC01B2}" type="sibTrans" cxnId="{D52B2716-6097-4A5A-AE02-B61064A70D65}">
      <dgm:prSet/>
      <dgm:spPr/>
      <dgm:t>
        <a:bodyPr/>
        <a:lstStyle/>
        <a:p>
          <a:endParaRPr lang="en-US">
            <a:solidFill>
              <a:schemeClr val="bg1"/>
            </a:solidFill>
          </a:endParaRPr>
        </a:p>
      </dgm:t>
    </dgm:pt>
    <dgm:pt modelId="{6BF5FCF7-33AB-4689-B5E2-87A1D0FD4EE7}" type="pres">
      <dgm:prSet presAssocID="{0CA689BB-9851-4758-B0A2-44952127A0D6}" presName="Name0" presStyleCnt="0">
        <dgm:presLayoutVars>
          <dgm:dir/>
          <dgm:animLvl val="lvl"/>
          <dgm:resizeHandles val="exact"/>
        </dgm:presLayoutVars>
      </dgm:prSet>
      <dgm:spPr/>
    </dgm:pt>
    <dgm:pt modelId="{9198DCDF-C512-46D8-90F0-C47E06BFD57B}" type="pres">
      <dgm:prSet presAssocID="{2D4708E9-EF6B-4110-93A4-B0C73A203109}" presName="Name8" presStyleCnt="0"/>
      <dgm:spPr/>
    </dgm:pt>
    <dgm:pt modelId="{CF2D95FC-F19F-464B-8466-A2C57EBFB022}" type="pres">
      <dgm:prSet presAssocID="{2D4708E9-EF6B-4110-93A4-B0C73A203109}" presName="level" presStyleLbl="node1" presStyleIdx="0" presStyleCnt="4" custLinFactNeighborX="-380">
        <dgm:presLayoutVars>
          <dgm:chMax val="1"/>
          <dgm:bulletEnabled val="1"/>
        </dgm:presLayoutVars>
      </dgm:prSet>
      <dgm:spPr/>
    </dgm:pt>
    <dgm:pt modelId="{68ACCEFF-C501-446C-BCF7-69227FB0834D}" type="pres">
      <dgm:prSet presAssocID="{2D4708E9-EF6B-4110-93A4-B0C73A203109}" presName="levelTx" presStyleLbl="revTx" presStyleIdx="0" presStyleCnt="0">
        <dgm:presLayoutVars>
          <dgm:chMax val="1"/>
          <dgm:bulletEnabled val="1"/>
        </dgm:presLayoutVars>
      </dgm:prSet>
      <dgm:spPr/>
    </dgm:pt>
    <dgm:pt modelId="{9ADE5FEB-A690-448B-AA62-734FCC79B3C1}" type="pres">
      <dgm:prSet presAssocID="{6F180097-45F6-4633-A7BA-48263CF4B682}" presName="Name8" presStyleCnt="0"/>
      <dgm:spPr/>
    </dgm:pt>
    <dgm:pt modelId="{41D82750-C933-42F1-9201-D937930BE74D}" type="pres">
      <dgm:prSet presAssocID="{6F180097-45F6-4633-A7BA-48263CF4B682}" presName="level" presStyleLbl="node1" presStyleIdx="1" presStyleCnt="4" custLinFactNeighborX="-190">
        <dgm:presLayoutVars>
          <dgm:chMax val="1"/>
          <dgm:bulletEnabled val="1"/>
        </dgm:presLayoutVars>
      </dgm:prSet>
      <dgm:spPr/>
    </dgm:pt>
    <dgm:pt modelId="{1DD5B933-0915-43E5-8FC6-E465F3DA2CFA}" type="pres">
      <dgm:prSet presAssocID="{6F180097-45F6-4633-A7BA-48263CF4B682}" presName="levelTx" presStyleLbl="revTx" presStyleIdx="0" presStyleCnt="0">
        <dgm:presLayoutVars>
          <dgm:chMax val="1"/>
          <dgm:bulletEnabled val="1"/>
        </dgm:presLayoutVars>
      </dgm:prSet>
      <dgm:spPr/>
    </dgm:pt>
    <dgm:pt modelId="{E92ABE58-E105-43CD-A613-5B47247926EA}" type="pres">
      <dgm:prSet presAssocID="{9B7ADE21-A710-43A9-8CC3-C06271374498}" presName="Name8" presStyleCnt="0"/>
      <dgm:spPr/>
    </dgm:pt>
    <dgm:pt modelId="{937E9428-BFF3-4EAC-858D-446F6AEA9D99}" type="pres">
      <dgm:prSet presAssocID="{9B7ADE21-A710-43A9-8CC3-C06271374498}" presName="level" presStyleLbl="node1" presStyleIdx="2" presStyleCnt="4" custLinFactNeighborX="-127">
        <dgm:presLayoutVars>
          <dgm:chMax val="1"/>
          <dgm:bulletEnabled val="1"/>
        </dgm:presLayoutVars>
      </dgm:prSet>
      <dgm:spPr/>
    </dgm:pt>
    <dgm:pt modelId="{B4219A4A-42B1-471D-9296-F1436D09C5C0}" type="pres">
      <dgm:prSet presAssocID="{9B7ADE21-A710-43A9-8CC3-C06271374498}" presName="levelTx" presStyleLbl="revTx" presStyleIdx="0" presStyleCnt="0">
        <dgm:presLayoutVars>
          <dgm:chMax val="1"/>
          <dgm:bulletEnabled val="1"/>
        </dgm:presLayoutVars>
      </dgm:prSet>
      <dgm:spPr/>
    </dgm:pt>
    <dgm:pt modelId="{D98ABCBB-528A-406D-A487-D54D43B27E74}" type="pres">
      <dgm:prSet presAssocID="{A42CF368-5F0E-42FD-8945-0486D2386434}" presName="Name8" presStyleCnt="0"/>
      <dgm:spPr/>
    </dgm:pt>
    <dgm:pt modelId="{09DA4951-12F8-46C1-A0B1-5560779D2965}" type="pres">
      <dgm:prSet presAssocID="{A42CF368-5F0E-42FD-8945-0486D2386434}" presName="level" presStyleLbl="node1" presStyleIdx="3" presStyleCnt="4" custLinFactNeighborX="-95">
        <dgm:presLayoutVars>
          <dgm:chMax val="1"/>
          <dgm:bulletEnabled val="1"/>
        </dgm:presLayoutVars>
      </dgm:prSet>
      <dgm:spPr/>
    </dgm:pt>
    <dgm:pt modelId="{1F75032D-39E4-4E6B-BAC9-7F9EA5DAFE11}" type="pres">
      <dgm:prSet presAssocID="{A42CF368-5F0E-42FD-8945-0486D2386434}" presName="levelTx" presStyleLbl="revTx" presStyleIdx="0" presStyleCnt="0">
        <dgm:presLayoutVars>
          <dgm:chMax val="1"/>
          <dgm:bulletEnabled val="1"/>
        </dgm:presLayoutVars>
      </dgm:prSet>
      <dgm:spPr/>
    </dgm:pt>
  </dgm:ptLst>
  <dgm:cxnLst>
    <dgm:cxn modelId="{33087E07-DF36-4B83-9592-3D5990424564}" srcId="{0CA689BB-9851-4758-B0A2-44952127A0D6}" destId="{2D4708E9-EF6B-4110-93A4-B0C73A203109}" srcOrd="0" destOrd="0" parTransId="{9101C663-4F32-4A06-AD8E-F085ADD1CEF7}" sibTransId="{A512244F-A508-40C1-8CCD-ACD6B7644B1A}"/>
    <dgm:cxn modelId="{D52B2716-6097-4A5A-AE02-B61064A70D65}" srcId="{0CA689BB-9851-4758-B0A2-44952127A0D6}" destId="{A42CF368-5F0E-42FD-8945-0486D2386434}" srcOrd="3" destOrd="0" parTransId="{6FD05D23-419B-4906-B7CE-7B428792EADE}" sibTransId="{01194177-4336-43A4-8F8F-8B68CCCC01B2}"/>
    <dgm:cxn modelId="{90B8CF23-D20E-477E-90E0-AF728003A670}" type="presOf" srcId="{2D4708E9-EF6B-4110-93A4-B0C73A203109}" destId="{68ACCEFF-C501-446C-BCF7-69227FB0834D}" srcOrd="1" destOrd="0" presId="urn:microsoft.com/office/officeart/2005/8/layout/pyramid1"/>
    <dgm:cxn modelId="{12F33F25-3D91-4A8F-8BB9-288454BD5B3E}" type="presOf" srcId="{A42CF368-5F0E-42FD-8945-0486D2386434}" destId="{09DA4951-12F8-46C1-A0B1-5560779D2965}" srcOrd="0" destOrd="0" presId="urn:microsoft.com/office/officeart/2005/8/layout/pyramid1"/>
    <dgm:cxn modelId="{5C641A40-E02E-4CCA-87BE-78EDDB341024}" srcId="{0CA689BB-9851-4758-B0A2-44952127A0D6}" destId="{6F180097-45F6-4633-A7BA-48263CF4B682}" srcOrd="1" destOrd="0" parTransId="{5676EB2C-3901-4F2D-843A-0034514FC257}" sibTransId="{722B9046-FAF6-4A05-AA6E-062351CDA617}"/>
    <dgm:cxn modelId="{82B84B56-B8BA-4FFC-B043-655263AC1A45}" type="presOf" srcId="{A42CF368-5F0E-42FD-8945-0486D2386434}" destId="{1F75032D-39E4-4E6B-BAC9-7F9EA5DAFE11}" srcOrd="1" destOrd="0" presId="urn:microsoft.com/office/officeart/2005/8/layout/pyramid1"/>
    <dgm:cxn modelId="{07302696-9517-46B5-BEBC-834530E29C1F}" type="presOf" srcId="{6F180097-45F6-4633-A7BA-48263CF4B682}" destId="{1DD5B933-0915-43E5-8FC6-E465F3DA2CFA}" srcOrd="1" destOrd="0" presId="urn:microsoft.com/office/officeart/2005/8/layout/pyramid1"/>
    <dgm:cxn modelId="{EF48B896-4D5E-4722-954F-A4A81152EDA1}" type="presOf" srcId="{2D4708E9-EF6B-4110-93A4-B0C73A203109}" destId="{CF2D95FC-F19F-464B-8466-A2C57EBFB022}" srcOrd="0" destOrd="0" presId="urn:microsoft.com/office/officeart/2005/8/layout/pyramid1"/>
    <dgm:cxn modelId="{A4B1799A-2C21-43F8-98FF-1493FE73D3E7}" srcId="{0CA689BB-9851-4758-B0A2-44952127A0D6}" destId="{9B7ADE21-A710-43A9-8CC3-C06271374498}" srcOrd="2" destOrd="0" parTransId="{27960F5F-6046-405E-8C01-3A47B7398B73}" sibTransId="{6FEFC5EE-6496-47E0-B1A6-3FB4E64C56E8}"/>
    <dgm:cxn modelId="{C511ABA0-BE42-4412-B52B-C27AD3697725}" type="presOf" srcId="{6F180097-45F6-4633-A7BA-48263CF4B682}" destId="{41D82750-C933-42F1-9201-D937930BE74D}" srcOrd="0" destOrd="0" presId="urn:microsoft.com/office/officeart/2005/8/layout/pyramid1"/>
    <dgm:cxn modelId="{9D7802C8-FD45-4F46-AD27-C7FD6E086F0E}" type="presOf" srcId="{0CA689BB-9851-4758-B0A2-44952127A0D6}" destId="{6BF5FCF7-33AB-4689-B5E2-87A1D0FD4EE7}" srcOrd="0" destOrd="0" presId="urn:microsoft.com/office/officeart/2005/8/layout/pyramid1"/>
    <dgm:cxn modelId="{E759F1D9-D757-4AB7-AA36-83DE17AC6DE3}" type="presOf" srcId="{9B7ADE21-A710-43A9-8CC3-C06271374498}" destId="{937E9428-BFF3-4EAC-858D-446F6AEA9D99}" srcOrd="0" destOrd="0" presId="urn:microsoft.com/office/officeart/2005/8/layout/pyramid1"/>
    <dgm:cxn modelId="{4C471DE7-7DAD-459C-BBE4-5BE730BE131A}" type="presOf" srcId="{9B7ADE21-A710-43A9-8CC3-C06271374498}" destId="{B4219A4A-42B1-471D-9296-F1436D09C5C0}" srcOrd="1" destOrd="0" presId="urn:microsoft.com/office/officeart/2005/8/layout/pyramid1"/>
    <dgm:cxn modelId="{CE279CBC-4D6F-49C0-9CCE-6A1B4537A16E}" type="presParOf" srcId="{6BF5FCF7-33AB-4689-B5E2-87A1D0FD4EE7}" destId="{9198DCDF-C512-46D8-90F0-C47E06BFD57B}" srcOrd="0" destOrd="0" presId="urn:microsoft.com/office/officeart/2005/8/layout/pyramid1"/>
    <dgm:cxn modelId="{BC8D4F7F-6947-43A2-AEBD-BD42F584BE23}" type="presParOf" srcId="{9198DCDF-C512-46D8-90F0-C47E06BFD57B}" destId="{CF2D95FC-F19F-464B-8466-A2C57EBFB022}" srcOrd="0" destOrd="0" presId="urn:microsoft.com/office/officeart/2005/8/layout/pyramid1"/>
    <dgm:cxn modelId="{13DC2C66-F793-46C3-B39E-49608F060DBF}" type="presParOf" srcId="{9198DCDF-C512-46D8-90F0-C47E06BFD57B}" destId="{68ACCEFF-C501-446C-BCF7-69227FB0834D}" srcOrd="1" destOrd="0" presId="urn:microsoft.com/office/officeart/2005/8/layout/pyramid1"/>
    <dgm:cxn modelId="{419C6C2C-C441-4013-BE4A-008D191E76C9}" type="presParOf" srcId="{6BF5FCF7-33AB-4689-B5E2-87A1D0FD4EE7}" destId="{9ADE5FEB-A690-448B-AA62-734FCC79B3C1}" srcOrd="1" destOrd="0" presId="urn:microsoft.com/office/officeart/2005/8/layout/pyramid1"/>
    <dgm:cxn modelId="{5071F43F-1221-4341-83CE-24D52928505C}" type="presParOf" srcId="{9ADE5FEB-A690-448B-AA62-734FCC79B3C1}" destId="{41D82750-C933-42F1-9201-D937930BE74D}" srcOrd="0" destOrd="0" presId="urn:microsoft.com/office/officeart/2005/8/layout/pyramid1"/>
    <dgm:cxn modelId="{CB596F7E-BB43-4EFB-8860-8399D584DA27}" type="presParOf" srcId="{9ADE5FEB-A690-448B-AA62-734FCC79B3C1}" destId="{1DD5B933-0915-43E5-8FC6-E465F3DA2CFA}" srcOrd="1" destOrd="0" presId="urn:microsoft.com/office/officeart/2005/8/layout/pyramid1"/>
    <dgm:cxn modelId="{BDC88E0F-62B5-4457-9B5D-419CB4EC29E1}" type="presParOf" srcId="{6BF5FCF7-33AB-4689-B5E2-87A1D0FD4EE7}" destId="{E92ABE58-E105-43CD-A613-5B47247926EA}" srcOrd="2" destOrd="0" presId="urn:microsoft.com/office/officeart/2005/8/layout/pyramid1"/>
    <dgm:cxn modelId="{B19BBB49-ED4E-4B52-995D-AFFC3E9D2F11}" type="presParOf" srcId="{E92ABE58-E105-43CD-A613-5B47247926EA}" destId="{937E9428-BFF3-4EAC-858D-446F6AEA9D99}" srcOrd="0" destOrd="0" presId="urn:microsoft.com/office/officeart/2005/8/layout/pyramid1"/>
    <dgm:cxn modelId="{04E1E409-92E9-4086-9BA9-89334099D9B1}" type="presParOf" srcId="{E92ABE58-E105-43CD-A613-5B47247926EA}" destId="{B4219A4A-42B1-471D-9296-F1436D09C5C0}" srcOrd="1" destOrd="0" presId="urn:microsoft.com/office/officeart/2005/8/layout/pyramid1"/>
    <dgm:cxn modelId="{9202548E-34B5-438D-80AC-4794F0483E99}" type="presParOf" srcId="{6BF5FCF7-33AB-4689-B5E2-87A1D0FD4EE7}" destId="{D98ABCBB-528A-406D-A487-D54D43B27E74}" srcOrd="3" destOrd="0" presId="urn:microsoft.com/office/officeart/2005/8/layout/pyramid1"/>
    <dgm:cxn modelId="{05D93CD2-D5E9-4AD3-88D3-FF0F8232A488}" type="presParOf" srcId="{D98ABCBB-528A-406D-A487-D54D43B27E74}" destId="{09DA4951-12F8-46C1-A0B1-5560779D2965}" srcOrd="0" destOrd="0" presId="urn:microsoft.com/office/officeart/2005/8/layout/pyramid1"/>
    <dgm:cxn modelId="{1102FBB9-2647-4F2B-80B7-8F4897E5F210}" type="presParOf" srcId="{D98ABCBB-528A-406D-A487-D54D43B27E74}" destId="{1F75032D-39E4-4E6B-BAC9-7F9EA5DAFE11}" srcOrd="1" destOrd="0" presId="urn:microsoft.com/office/officeart/2005/8/layout/pyramid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110958"/>
          <a:ext cx="2016677" cy="806670"/>
        </a:xfrm>
        <a:prstGeom prst="rect">
          <a:avLst/>
        </a:prstGeom>
        <a:solidFill>
          <a:schemeClr val="bg1">
            <a:lumMod val="6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 Part I </a:t>
          </a:r>
        </a:p>
        <a:p>
          <a:pPr marL="0" lvl="0" indent="0" algn="ctr" defTabSz="488950">
            <a:lnSpc>
              <a:spcPct val="90000"/>
            </a:lnSpc>
            <a:spcBef>
              <a:spcPct val="0"/>
            </a:spcBef>
            <a:spcAft>
              <a:spcPct val="35000"/>
            </a:spcAft>
            <a:buNone/>
          </a:pPr>
          <a:r>
            <a:rPr lang="en-US" sz="1100" kern="1200" dirty="0"/>
            <a:t>Empowering Everyone with Power Platform – From CEO to Frontline Workers</a:t>
          </a:r>
          <a:endParaRPr lang="en-AU" sz="1100" kern="1200" dirty="0"/>
        </a:p>
      </dsp:txBody>
      <dsp:txXfrm>
        <a:off x="5260" y="110958"/>
        <a:ext cx="2016677" cy="806670"/>
      </dsp:txXfrm>
    </dsp:sp>
    <dsp:sp modelId="{F9540AD5-4F34-4720-A853-23023519F2F5}">
      <dsp:nvSpPr>
        <dsp:cNvPr id="0" name=""/>
        <dsp:cNvSpPr/>
      </dsp:nvSpPr>
      <dsp:spPr>
        <a:xfrm>
          <a:off x="5260"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917629"/>
        <a:ext cx="2016677" cy="3657712"/>
      </dsp:txXfrm>
    </dsp:sp>
    <dsp:sp modelId="{A15940E0-E524-4386-893B-E5C857ACD0DE}">
      <dsp:nvSpPr>
        <dsp:cNvPr id="0" name=""/>
        <dsp:cNvSpPr/>
      </dsp:nvSpPr>
      <dsp:spPr>
        <a:xfrm>
          <a:off x="2304273"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 Part II</a:t>
          </a:r>
        </a:p>
        <a:p>
          <a:pPr marL="0" lvl="0" indent="0" algn="ctr" defTabSz="488950">
            <a:lnSpc>
              <a:spcPct val="90000"/>
            </a:lnSpc>
            <a:spcBef>
              <a:spcPct val="0"/>
            </a:spcBef>
            <a:spcAft>
              <a:spcPct val="35000"/>
            </a:spcAft>
            <a:buNone/>
          </a:pPr>
          <a:r>
            <a:rPr lang="en-US" sz="1100" kern="1200" dirty="0"/>
            <a:t>Power Packed Day with Power Canvas Apps</a:t>
          </a:r>
          <a:endParaRPr lang="en-AU" sz="1100" kern="1200" dirty="0"/>
        </a:p>
      </dsp:txBody>
      <dsp:txXfrm>
        <a:off x="2304273" y="110958"/>
        <a:ext cx="2016677" cy="806670"/>
      </dsp:txXfrm>
    </dsp:sp>
    <dsp:sp modelId="{CD66AAD5-A74B-4989-8AD5-348B79FA87C7}">
      <dsp:nvSpPr>
        <dsp:cNvPr id="0" name=""/>
        <dsp:cNvSpPr/>
      </dsp:nvSpPr>
      <dsp:spPr>
        <a:xfrm>
          <a:off x="2304273"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sp:txBody>
      <dsp:txXfrm>
        <a:off x="2304273" y="917629"/>
        <a:ext cx="2016677" cy="3657712"/>
      </dsp:txXfrm>
    </dsp:sp>
    <dsp:sp modelId="{6D51457A-C3C5-41AF-B616-CDB4705EBFBD}">
      <dsp:nvSpPr>
        <dsp:cNvPr id="0" name=""/>
        <dsp:cNvSpPr/>
      </dsp:nvSpPr>
      <dsp:spPr>
        <a:xfrm>
          <a:off x="4603285"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 Part I</a:t>
          </a:r>
        </a:p>
        <a:p>
          <a:pPr marL="0" lvl="0" indent="0" algn="ctr" defTabSz="488950">
            <a:lnSpc>
              <a:spcPct val="90000"/>
            </a:lnSpc>
            <a:spcBef>
              <a:spcPct val="0"/>
            </a:spcBef>
            <a:spcAft>
              <a:spcPct val="35000"/>
            </a:spcAft>
            <a:buNone/>
          </a:pPr>
          <a:r>
            <a:rPr lang="en-US" sz="1100" kern="1200" dirty="0"/>
            <a:t>Power Packed Day with Power Model Driven Apps</a:t>
          </a:r>
          <a:endParaRPr lang="en-AU" sz="1100" kern="1200" dirty="0"/>
        </a:p>
      </dsp:txBody>
      <dsp:txXfrm>
        <a:off x="4603285" y="110958"/>
        <a:ext cx="2016677" cy="806670"/>
      </dsp:txXfrm>
    </dsp:sp>
    <dsp:sp modelId="{FE6D297C-C9E0-4A7D-A12A-BA53DEE78AEC}">
      <dsp:nvSpPr>
        <dsp:cNvPr id="0" name=""/>
        <dsp:cNvSpPr/>
      </dsp:nvSpPr>
      <dsp:spPr>
        <a:xfrm>
          <a:off x="4603285"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Let’s talk about data</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Data</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mmon Data Servic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l-driven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What type of components can I add?</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model desig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917629"/>
        <a:ext cx="2016677" cy="3657712"/>
      </dsp:txXfrm>
    </dsp:sp>
    <dsp:sp modelId="{79AA2380-6C09-4C3E-A320-87D02EF11B92}">
      <dsp:nvSpPr>
        <dsp:cNvPr id="0" name=""/>
        <dsp:cNvSpPr/>
      </dsp:nvSpPr>
      <dsp:spPr>
        <a:xfrm>
          <a:off x="6902297"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 Part II</a:t>
          </a:r>
        </a:p>
        <a:p>
          <a:pPr marL="0" lvl="0" indent="0" algn="ctr" defTabSz="488950">
            <a:lnSpc>
              <a:spcPct val="90000"/>
            </a:lnSpc>
            <a:spcBef>
              <a:spcPct val="0"/>
            </a:spcBef>
            <a:spcAft>
              <a:spcPct val="35000"/>
            </a:spcAft>
            <a:buNone/>
          </a:pPr>
          <a:r>
            <a:rPr lang="en-US" sz="1100" kern="1200" dirty="0"/>
            <a:t>Power Packed Day with Power Automate</a:t>
          </a:r>
          <a:endParaRPr lang="en-AU" sz="1100" kern="1200" dirty="0"/>
        </a:p>
      </dsp:txBody>
      <dsp:txXfrm>
        <a:off x="6902297" y="110958"/>
        <a:ext cx="2016677" cy="806670"/>
      </dsp:txXfrm>
    </dsp:sp>
    <dsp:sp modelId="{569DA3D3-C2E5-4089-A6F0-CF7A0DE5293E}">
      <dsp:nvSpPr>
        <dsp:cNvPr id="0" name=""/>
        <dsp:cNvSpPr/>
      </dsp:nvSpPr>
      <dsp:spPr>
        <a:xfrm>
          <a:off x="6902297"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types and express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orking with Array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Control flow and action setting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6902297" y="917629"/>
        <a:ext cx="2016677" cy="3657712"/>
      </dsp:txXfrm>
    </dsp:sp>
    <dsp:sp modelId="{19CDF2AB-3B0B-41CB-AD00-E99839314F1A}">
      <dsp:nvSpPr>
        <dsp:cNvPr id="0" name=""/>
        <dsp:cNvSpPr/>
      </dsp:nvSpPr>
      <dsp:spPr>
        <a:xfrm>
          <a:off x="9201309" y="110958"/>
          <a:ext cx="2016677" cy="806670"/>
        </a:xfrm>
        <a:prstGeom prst="rect">
          <a:avLst/>
        </a:prstGeom>
        <a:solidFill>
          <a:srgbClr val="7030A0"/>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 Part I</a:t>
          </a:r>
        </a:p>
        <a:p>
          <a:pPr marL="0" lvl="0" indent="0" algn="ctr" defTabSz="488950">
            <a:lnSpc>
              <a:spcPct val="90000"/>
            </a:lnSpc>
            <a:spcBef>
              <a:spcPct val="0"/>
            </a:spcBef>
            <a:spcAft>
              <a:spcPct val="35000"/>
            </a:spcAft>
            <a:buNone/>
          </a:pPr>
          <a:r>
            <a:rPr lang="en-US" sz="1100" kern="1200" dirty="0"/>
            <a:t>Power Packed Day with Power Agents</a:t>
          </a:r>
          <a:endParaRPr lang="en-AU" sz="1100" kern="1200" dirty="0"/>
        </a:p>
      </dsp:txBody>
      <dsp:txXfrm>
        <a:off x="9201309" y="110958"/>
        <a:ext cx="2016677" cy="806670"/>
      </dsp:txXfrm>
    </dsp:sp>
    <dsp:sp modelId="{6BCC47BA-0C21-4EC9-8F7B-D9BCA5C8EC21}">
      <dsp:nvSpPr>
        <dsp:cNvPr id="0" name=""/>
        <dsp:cNvSpPr/>
      </dsp:nvSpPr>
      <dsp:spPr>
        <a:xfrm>
          <a:off x="9201309"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 Robust Virtual Agent Platform</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verse everywher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asily make your bots better</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reate personalized custom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Transfer to a human ag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t on Power Platform &amp;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xtend your bot capabilities with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9201309" y="917629"/>
        <a:ext cx="2016677" cy="36577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83079"/>
          <a:ext cx="2016677" cy="806670"/>
        </a:xfrm>
        <a:prstGeom prst="rect">
          <a:avLst/>
        </a:prstGeom>
        <a:solidFill>
          <a:srgbClr val="7030A0"/>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 – Part II</a:t>
          </a:r>
        </a:p>
        <a:p>
          <a:pPr marL="0" lvl="0" indent="0" algn="ctr" defTabSz="488950">
            <a:lnSpc>
              <a:spcPct val="90000"/>
            </a:lnSpc>
            <a:spcBef>
              <a:spcPct val="0"/>
            </a:spcBef>
            <a:spcAft>
              <a:spcPct val="35000"/>
            </a:spcAft>
            <a:buNone/>
          </a:pPr>
          <a:r>
            <a:rPr lang="en-US" sz="1100" kern="1200" dirty="0"/>
            <a:t>Power Packed Day with Power BI</a:t>
          </a:r>
          <a:endParaRPr lang="en-AU" sz="1100" kern="1200" dirty="0"/>
        </a:p>
      </dsp:txBody>
      <dsp:txXfrm>
        <a:off x="5260" y="83079"/>
        <a:ext cx="2016677" cy="806670"/>
      </dsp:txXfrm>
    </dsp:sp>
    <dsp:sp modelId="{F9540AD5-4F34-4720-A853-23023519F2F5}">
      <dsp:nvSpPr>
        <dsp:cNvPr id="0" name=""/>
        <dsp:cNvSpPr/>
      </dsp:nvSpPr>
      <dsp:spPr>
        <a:xfrm>
          <a:off x="5260"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he 5x5 Princip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momentum: Power BI</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Desktop</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sour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Query</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flow</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Using a Calculation (DAX) in multiple file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aginated Report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Admin Portal </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889750"/>
        <a:ext cx="2016677" cy="3713470"/>
      </dsp:txXfrm>
    </dsp:sp>
    <dsp:sp modelId="{A15940E0-E524-4386-893B-E5C857ACD0DE}">
      <dsp:nvSpPr>
        <dsp:cNvPr id="0" name=""/>
        <dsp:cNvSpPr/>
      </dsp:nvSpPr>
      <dsp:spPr>
        <a:xfrm>
          <a:off x="2304273"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 Part I</a:t>
          </a:r>
        </a:p>
        <a:p>
          <a:pPr marL="0" lvl="0" indent="0" algn="ctr" defTabSz="488950">
            <a:lnSpc>
              <a:spcPct val="90000"/>
            </a:lnSpc>
            <a:spcBef>
              <a:spcPct val="0"/>
            </a:spcBef>
            <a:spcAft>
              <a:spcPct val="35000"/>
            </a:spcAft>
            <a:buNone/>
          </a:pPr>
          <a:r>
            <a:rPr lang="en-US" sz="1100" kern="1200" dirty="0"/>
            <a:t>Power up your Apps with AI Builder</a:t>
          </a:r>
          <a:endParaRPr lang="en-AU" sz="1100" kern="1200" dirty="0"/>
        </a:p>
      </dsp:txBody>
      <dsp:txXfrm>
        <a:off x="2304273" y="83079"/>
        <a:ext cx="2016677" cy="806670"/>
      </dsp:txXfrm>
    </dsp:sp>
    <dsp:sp modelId="{CD66AAD5-A74B-4989-8AD5-348B79FA87C7}">
      <dsp:nvSpPr>
        <dsp:cNvPr id="0" name=""/>
        <dsp:cNvSpPr/>
      </dsp:nvSpPr>
      <dsp:spPr>
        <a:xfrm>
          <a:off x="2304273"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I for every app. And everyon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tup Environme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AI Model</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redi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orm process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Object dete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xt classific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2304273" y="889750"/>
        <a:ext cx="2016677" cy="3713470"/>
      </dsp:txXfrm>
    </dsp:sp>
    <dsp:sp modelId="{6D51457A-C3C5-41AF-B616-CDB4705EBFBD}">
      <dsp:nvSpPr>
        <dsp:cNvPr id="0" name=""/>
        <dsp:cNvSpPr/>
      </dsp:nvSpPr>
      <dsp:spPr>
        <a:xfrm>
          <a:off x="4603285"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 Part II</a:t>
          </a:r>
        </a:p>
        <a:p>
          <a:pPr marL="0" lvl="0" indent="0" algn="ctr" defTabSz="488950">
            <a:lnSpc>
              <a:spcPct val="90000"/>
            </a:lnSpc>
            <a:spcBef>
              <a:spcPct val="0"/>
            </a:spcBef>
            <a:spcAft>
              <a:spcPct val="35000"/>
            </a:spcAft>
            <a:buNone/>
          </a:pPr>
          <a:r>
            <a:rPr lang="en-US" sz="1100" kern="1200" dirty="0"/>
            <a:t>Power Platform Administration, Security &amp; Integration Connectors</a:t>
          </a:r>
          <a:endParaRPr lang="en-AU" sz="1100" kern="1200" dirty="0"/>
        </a:p>
      </dsp:txBody>
      <dsp:txXfrm>
        <a:off x="4603285" y="83079"/>
        <a:ext cx="2016677" cy="806670"/>
      </dsp:txXfrm>
    </dsp:sp>
    <dsp:sp modelId="{FE6D297C-C9E0-4A7D-A12A-BA53DEE78AEC}">
      <dsp:nvSpPr>
        <dsp:cNvPr id="0" name=""/>
        <dsp:cNvSpPr/>
      </dsp:nvSpPr>
      <dsp:spPr>
        <a:xfrm>
          <a:off x="4603285"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cure your tena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nitor your tenant’s activity</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lert &amp; act on that activity</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harePoint Integr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889750"/>
        <a:ext cx="2016677" cy="3713470"/>
      </dsp:txXfrm>
    </dsp:sp>
    <dsp:sp modelId="{79AA2380-6C09-4C3E-A320-87D02EF11B92}">
      <dsp:nvSpPr>
        <dsp:cNvPr id="0" name=""/>
        <dsp:cNvSpPr/>
      </dsp:nvSpPr>
      <dsp:spPr>
        <a:xfrm>
          <a:off x="6902297"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5– Part I</a:t>
          </a:r>
        </a:p>
        <a:p>
          <a:pPr marL="0" lvl="0" indent="0" algn="ctr" defTabSz="488950">
            <a:lnSpc>
              <a:spcPct val="90000"/>
            </a:lnSpc>
            <a:spcBef>
              <a:spcPct val="0"/>
            </a:spcBef>
            <a:spcAft>
              <a:spcPct val="35000"/>
            </a:spcAft>
            <a:buNone/>
          </a:pPr>
          <a:r>
            <a:rPr lang="en-US" sz="1100" kern="1200" dirty="0"/>
            <a:t>Power Packed Bizz Apps Day – Sales &amp; Marketing</a:t>
          </a:r>
          <a:endParaRPr lang="en-AU" sz="1100" kern="1200" dirty="0"/>
        </a:p>
      </dsp:txBody>
      <dsp:txXfrm>
        <a:off x="6902297" y="83079"/>
        <a:ext cx="2016677" cy="806670"/>
      </dsp:txXfrm>
    </dsp:sp>
    <dsp:sp modelId="{569DA3D3-C2E5-4089-A6F0-CF7A0DE5293E}">
      <dsp:nvSpPr>
        <dsp:cNvPr id="0" name=""/>
        <dsp:cNvSpPr/>
      </dsp:nvSpPr>
      <dsp:spPr>
        <a:xfrm>
          <a:off x="6902297"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Nurture more demand</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ersonalize buy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Build relationships at sca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ake insight-driven decision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114300" lvl="2"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BI in Dynamics 365 for Sales and Marketing</a:t>
          </a:r>
          <a:endParaRPr lang="en-GB" sz="1100" kern="1200" dirty="0"/>
        </a:p>
        <a:p>
          <a:pPr marL="57150" lvl="1" indent="-57150" algn="l" defTabSz="488950">
            <a:lnSpc>
              <a:spcPct val="90000"/>
            </a:lnSpc>
            <a:spcBef>
              <a:spcPct val="0"/>
            </a:spcBef>
            <a:spcAft>
              <a:spcPct val="15000"/>
            </a:spcAft>
            <a:buChar char="•"/>
          </a:pPr>
          <a:endParaRPr lang="en-GB" sz="1100" kern="1200" dirty="0"/>
        </a:p>
      </dsp:txBody>
      <dsp:txXfrm>
        <a:off x="6902297" y="889750"/>
        <a:ext cx="2016677" cy="3713470"/>
      </dsp:txXfrm>
    </dsp:sp>
    <dsp:sp modelId="{19CDF2AB-3B0B-41CB-AD00-E99839314F1A}">
      <dsp:nvSpPr>
        <dsp:cNvPr id="0" name=""/>
        <dsp:cNvSpPr/>
      </dsp:nvSpPr>
      <dsp:spPr>
        <a:xfrm>
          <a:off x="9201309"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5– Part II</a:t>
          </a:r>
        </a:p>
        <a:p>
          <a:pPr marL="0" lvl="0" indent="0" algn="ctr" defTabSz="488950">
            <a:lnSpc>
              <a:spcPct val="90000"/>
            </a:lnSpc>
            <a:spcBef>
              <a:spcPct val="0"/>
            </a:spcBef>
            <a:spcAft>
              <a:spcPct val="35000"/>
            </a:spcAft>
            <a:buNone/>
          </a:pPr>
          <a:r>
            <a:rPr lang="en-US" sz="1100" kern="1200" dirty="0"/>
            <a:t>Power Packed Bizz Apps Day– Finance &amp; Supply Chain</a:t>
          </a:r>
          <a:endParaRPr lang="en-AU" sz="1100" kern="1200" dirty="0"/>
        </a:p>
      </dsp:txBody>
      <dsp:txXfrm>
        <a:off x="9201309" y="83079"/>
        <a:ext cx="2016677" cy="806670"/>
      </dsp:txXfrm>
    </dsp:sp>
    <dsp:sp modelId="{6BCC47BA-0C21-4EC9-8F7B-D9BCA5C8EC21}">
      <dsp:nvSpPr>
        <dsp:cNvPr id="0" name=""/>
        <dsp:cNvSpPr/>
      </dsp:nvSpPr>
      <dsp:spPr>
        <a:xfrm>
          <a:off x="9201309"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chnology Moderniz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rn Financ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upporting modern supply chain managem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Platform in Dynamics 365 for Finance and Supply Chain</a:t>
          </a:r>
          <a:endParaRPr lang="en-GB" sz="1100" kern="1200" dirty="0"/>
        </a:p>
      </dsp:txBody>
      <dsp:txXfrm>
        <a:off x="9201309" y="889750"/>
        <a:ext cx="2016677" cy="37134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62FF5F-4CB5-4156-AB4A-9AD102D9E410}">
      <dsp:nvSpPr>
        <dsp:cNvPr id="0" name=""/>
        <dsp:cNvSpPr/>
      </dsp:nvSpPr>
      <dsp:spPr>
        <a:xfrm rot="5400000">
          <a:off x="2456559"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180890"/>
        <a:ext cx="694090" cy="797805"/>
      </dsp:txXfrm>
    </dsp:sp>
    <dsp:sp modelId="{9DD42A24-5779-48B0-BA9D-7C0A1F099BBF}">
      <dsp:nvSpPr>
        <dsp:cNvPr id="0" name=""/>
        <dsp:cNvSpPr/>
      </dsp:nvSpPr>
      <dsp:spPr>
        <a:xfrm>
          <a:off x="3570860" y="232080"/>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32080"/>
        <a:ext cx="1293488" cy="695423"/>
      </dsp:txXfrm>
    </dsp:sp>
    <dsp:sp modelId="{8E4679E0-60C8-4E67-8F57-A05B1532DD4A}">
      <dsp:nvSpPr>
        <dsp:cNvPr id="0" name=""/>
        <dsp:cNvSpPr/>
      </dsp:nvSpPr>
      <dsp:spPr>
        <a:xfrm rot="5400000">
          <a:off x="1367526"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180890"/>
        <a:ext cx="694090" cy="797805"/>
      </dsp:txXfrm>
    </dsp:sp>
    <dsp:sp modelId="{256EEA0E-F153-4A09-88D3-C3A12EA074C9}">
      <dsp:nvSpPr>
        <dsp:cNvPr id="0" name=""/>
        <dsp:cNvSpPr/>
      </dsp:nvSpPr>
      <dsp:spPr>
        <a:xfrm rot="5400000">
          <a:off x="1909956"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142430" y="1164683"/>
        <a:ext cx="694090" cy="797805"/>
      </dsp:txXfrm>
    </dsp:sp>
    <dsp:sp modelId="{321E6BD8-E670-4A73-B7E6-702B1199A636}">
      <dsp:nvSpPr>
        <dsp:cNvPr id="0" name=""/>
        <dsp:cNvSpPr/>
      </dsp:nvSpPr>
      <dsp:spPr>
        <a:xfrm>
          <a:off x="691806" y="1215873"/>
          <a:ext cx="1251762"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r" defTabSz="1333500">
            <a:lnSpc>
              <a:spcPct val="90000"/>
            </a:lnSpc>
            <a:spcBef>
              <a:spcPct val="0"/>
            </a:spcBef>
            <a:spcAft>
              <a:spcPct val="35000"/>
            </a:spcAft>
            <a:buNone/>
          </a:pPr>
          <a:endParaRPr lang="en-US" sz="3000" kern="1200"/>
        </a:p>
      </dsp:txBody>
      <dsp:txXfrm>
        <a:off x="691806" y="1215873"/>
        <a:ext cx="1251762" cy="695423"/>
      </dsp:txXfrm>
    </dsp:sp>
    <dsp:sp modelId="{AD2BDA62-2AB9-4477-BA32-06AFEED18AC8}">
      <dsp:nvSpPr>
        <dsp:cNvPr id="0" name=""/>
        <dsp:cNvSpPr/>
      </dsp:nvSpPr>
      <dsp:spPr>
        <a:xfrm rot="5400000">
          <a:off x="2998990"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231464" y="1164683"/>
        <a:ext cx="694090" cy="797805"/>
      </dsp:txXfrm>
    </dsp:sp>
    <dsp:sp modelId="{B8B11624-282F-4CDD-B42B-1B2B7636449D}">
      <dsp:nvSpPr>
        <dsp:cNvPr id="0" name=""/>
        <dsp:cNvSpPr/>
      </dsp:nvSpPr>
      <dsp:spPr>
        <a:xfrm rot="5400000">
          <a:off x="2456559"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2148476"/>
        <a:ext cx="694090" cy="797805"/>
      </dsp:txXfrm>
    </dsp:sp>
    <dsp:sp modelId="{D4253934-9C1A-4C90-897B-2485D0634C17}">
      <dsp:nvSpPr>
        <dsp:cNvPr id="0" name=""/>
        <dsp:cNvSpPr/>
      </dsp:nvSpPr>
      <dsp:spPr>
        <a:xfrm>
          <a:off x="3570860" y="2199666"/>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199666"/>
        <a:ext cx="1293488" cy="695423"/>
      </dsp:txXfrm>
    </dsp:sp>
    <dsp:sp modelId="{267FEEEA-DDE7-41B3-A859-A6C0A787DD04}">
      <dsp:nvSpPr>
        <dsp:cNvPr id="0" name=""/>
        <dsp:cNvSpPr/>
      </dsp:nvSpPr>
      <dsp:spPr>
        <a:xfrm rot="5400000">
          <a:off x="1367526"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2148476"/>
        <a:ext cx="694090" cy="79780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2D95FC-F19F-464B-8466-A2C57EBFB022}">
      <dsp:nvSpPr>
        <dsp:cNvPr id="0" name=""/>
        <dsp:cNvSpPr/>
      </dsp:nvSpPr>
      <dsp:spPr>
        <a:xfrm>
          <a:off x="2514607" y="0"/>
          <a:ext cx="1680662" cy="1354666"/>
        </a:xfrm>
        <a:prstGeom prst="trapezoid">
          <a:avLst>
            <a:gd name="adj" fmla="val 62032"/>
          </a:avLst>
        </a:prstGeom>
        <a:solidFill>
          <a:srgbClr val="14848F"/>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br>
            <a:rPr lang="en-US" sz="1200" b="1" kern="1200">
              <a:solidFill>
                <a:schemeClr val="bg1"/>
              </a:solidFill>
            </a:rPr>
          </a:br>
          <a:br>
            <a:rPr lang="en-US" sz="1200" b="1" kern="1200">
              <a:solidFill>
                <a:schemeClr val="bg1"/>
              </a:solidFill>
            </a:rPr>
          </a:br>
          <a:br>
            <a:rPr lang="en-US" sz="1200" b="1" kern="1200">
              <a:solidFill>
                <a:schemeClr val="bg1"/>
              </a:solidFill>
            </a:rPr>
          </a:br>
          <a:r>
            <a:rPr lang="en-US" sz="1200" b="1" kern="1200">
              <a:solidFill>
                <a:schemeClr val="bg1"/>
              </a:solidFill>
            </a:rPr>
            <a:t>Power </a:t>
          </a:r>
          <a:br>
            <a:rPr lang="en-US" sz="1200" b="1" kern="1200">
              <a:solidFill>
                <a:schemeClr val="bg1"/>
              </a:solidFill>
            </a:rPr>
          </a:br>
          <a:r>
            <a:rPr lang="en-US" sz="1200" b="1" kern="1200">
              <a:solidFill>
                <a:schemeClr val="bg1"/>
              </a:solidFill>
            </a:rPr>
            <a:t>Virtual Agents</a:t>
          </a:r>
        </a:p>
      </dsp:txBody>
      <dsp:txXfrm>
        <a:off x="2514607" y="0"/>
        <a:ext cx="1680662" cy="1354666"/>
      </dsp:txXfrm>
    </dsp:sp>
    <dsp:sp modelId="{41D82750-C933-42F1-9201-D937930BE74D}">
      <dsp:nvSpPr>
        <dsp:cNvPr id="0" name=""/>
        <dsp:cNvSpPr/>
      </dsp:nvSpPr>
      <dsp:spPr>
        <a:xfrm>
          <a:off x="1674275" y="1354666"/>
          <a:ext cx="3361325" cy="1354666"/>
        </a:xfrm>
        <a:prstGeom prst="trapezoid">
          <a:avLst>
            <a:gd name="adj" fmla="val 62032"/>
          </a:avLst>
        </a:prstGeom>
        <a:solidFill>
          <a:schemeClr val="bg2">
            <a:lumMod val="9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br>
            <a:rPr lang="en-US" sz="1200" b="1" kern="1200">
              <a:solidFill>
                <a:schemeClr val="bg1"/>
              </a:solidFill>
            </a:rPr>
          </a:br>
          <a:br>
            <a:rPr lang="en-US" sz="1200" b="1" kern="1200">
              <a:solidFill>
                <a:schemeClr val="bg1"/>
              </a:solidFill>
            </a:rPr>
          </a:br>
          <a:r>
            <a:rPr lang="en-US" sz="1200" b="1" kern="1200">
              <a:solidFill>
                <a:schemeClr val="bg1"/>
              </a:solidFill>
            </a:rPr>
            <a:t>Power Platform</a:t>
          </a:r>
          <a:br>
            <a:rPr lang="en-US" sz="1200" b="1" kern="1200">
              <a:solidFill>
                <a:schemeClr val="bg1"/>
              </a:solidFill>
            </a:rPr>
          </a:br>
          <a:r>
            <a:rPr lang="en-US" sz="1200" b="0" kern="1200">
              <a:solidFill>
                <a:schemeClr val="bg1"/>
              </a:solidFill>
            </a:rPr>
            <a:t>Access to Flow, custom models through AI Builders and 100s of pre-built connectors</a:t>
          </a:r>
        </a:p>
      </dsp:txBody>
      <dsp:txXfrm>
        <a:off x="2262507" y="1354666"/>
        <a:ext cx="2184861" cy="1354666"/>
      </dsp:txXfrm>
    </dsp:sp>
    <dsp:sp modelId="{937E9428-BFF3-4EAC-858D-446F6AEA9D99}">
      <dsp:nvSpPr>
        <dsp:cNvPr id="0" name=""/>
        <dsp:cNvSpPr/>
      </dsp:nvSpPr>
      <dsp:spPr>
        <a:xfrm>
          <a:off x="833927" y="2709333"/>
          <a:ext cx="5041987" cy="1354666"/>
        </a:xfrm>
        <a:prstGeom prst="trapezoid">
          <a:avLst>
            <a:gd name="adj" fmla="val 62032"/>
          </a:avLst>
        </a:prstGeom>
        <a:solidFill>
          <a:schemeClr val="bg2">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r>
            <a:rPr lang="en-US" sz="1200" b="1" kern="1200">
              <a:solidFill>
                <a:schemeClr val="bg1"/>
              </a:solidFill>
            </a:rPr>
            <a:t>Azure Bot Service</a:t>
          </a:r>
          <a:br>
            <a:rPr lang="en-US" sz="1200" b="1" kern="1200">
              <a:solidFill>
                <a:schemeClr val="bg1"/>
              </a:solidFill>
            </a:rPr>
          </a:br>
          <a:r>
            <a:rPr lang="en-US" sz="1200" b="0" kern="1200">
              <a:solidFill>
                <a:schemeClr val="bg1"/>
              </a:solidFill>
            </a:rPr>
            <a:t>Easy, no-cliff access to the full power </a:t>
          </a:r>
          <a:br>
            <a:rPr lang="en-US" sz="1200" b="0" kern="1200">
              <a:solidFill>
                <a:schemeClr val="bg1"/>
              </a:solidFill>
            </a:rPr>
          </a:br>
          <a:r>
            <a:rPr lang="en-US" sz="1200" b="0" kern="1200">
              <a:solidFill>
                <a:schemeClr val="bg1"/>
              </a:solidFill>
            </a:rPr>
            <a:t>of the Azure Bot Framework</a:t>
          </a:r>
          <a:endParaRPr lang="en-US" sz="1200" b="1" kern="1200">
            <a:solidFill>
              <a:schemeClr val="bg1"/>
            </a:solidFill>
          </a:endParaRPr>
        </a:p>
      </dsp:txBody>
      <dsp:txXfrm>
        <a:off x="1716275" y="2709333"/>
        <a:ext cx="3277291" cy="1354666"/>
      </dsp:txXfrm>
    </dsp:sp>
    <dsp:sp modelId="{09DA4951-12F8-46C1-A0B1-5560779D2965}">
      <dsp:nvSpPr>
        <dsp:cNvPr id="0" name=""/>
        <dsp:cNvSpPr/>
      </dsp:nvSpPr>
      <dsp:spPr>
        <a:xfrm>
          <a:off x="0" y="4064000"/>
          <a:ext cx="6722650" cy="1354666"/>
        </a:xfrm>
        <a:prstGeom prst="trapezoid">
          <a:avLst>
            <a:gd name="adj" fmla="val 62032"/>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r>
            <a:rPr lang="en-US" sz="1200" b="1" kern="1200">
              <a:solidFill>
                <a:schemeClr val="bg1"/>
              </a:solidFill>
            </a:rPr>
            <a:t>Azure Cognitive Services</a:t>
          </a:r>
        </a:p>
        <a:p>
          <a:pPr marL="0" lvl="0" indent="0" algn="ctr" defTabSz="533400">
            <a:lnSpc>
              <a:spcPct val="90000"/>
            </a:lnSpc>
            <a:spcBef>
              <a:spcPct val="0"/>
            </a:spcBef>
            <a:spcAft>
              <a:spcPct val="35000"/>
            </a:spcAft>
            <a:buNone/>
          </a:pPr>
          <a:r>
            <a:rPr lang="en-US" sz="1200" b="0" kern="1200">
              <a:solidFill>
                <a:schemeClr val="bg1"/>
              </a:solidFill>
            </a:rPr>
            <a:t>Integrated with Azure Cognitive Services</a:t>
          </a:r>
        </a:p>
      </dsp:txBody>
      <dsp:txXfrm>
        <a:off x="1176463" y="4064000"/>
        <a:ext cx="4369722" cy="135466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21/03/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oft Power Platform + Dynamics 365 Bootcamp.</a:t>
            </a:r>
          </a:p>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1/2021 11:54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5776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370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884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7921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076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576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1/2021 11: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67138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2020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70617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90677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1/2021 11: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7300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1/2021 11:54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832977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27266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9760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75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1/2021 11: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422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741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434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141451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40.png"/><Relationship Id="rId4" Type="http://schemas.openxmlformats.org/officeDocument/2006/relationships/image" Target="../media/image39.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24.jp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21/03/2021</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21/03/2021</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85775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53032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5835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033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4929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39196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27152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33213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95473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348200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21/03/2021</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740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16522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0300004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28832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03747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495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63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7819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92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87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23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1662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027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45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C51FCE-E4BB-4680-8E50-3C0E348D2609}" type="datetimeFigureOut">
              <a:rPr lang="en-US" dirty="0"/>
              <a:t>3/21/2021</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5599432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8030510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2741388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303954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297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53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36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38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5453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2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69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029727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59467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603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8850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069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43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4491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876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30130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97582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661CE-D70D-4435-A2C4-C6D7FFFA4516}"/>
              </a:ext>
            </a:extLst>
          </p:cNvPr>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0"/>
            <a:ext cx="6705600" cy="553998"/>
          </a:xfrm>
        </p:spPr>
        <p:txBody>
          <a:bodyPr/>
          <a:lstStyle/>
          <a:p>
            <a:r>
              <a:rPr lang="en-US"/>
              <a:t>Click to edit Master title style</a:t>
            </a:r>
            <a:endParaRPr lang="en-US" dirty="0"/>
          </a:p>
        </p:txBody>
      </p:sp>
      <p:sp>
        <p:nvSpPr>
          <p:cNvPr id="3" name="Content Placeholder 2"/>
          <p:cNvSpPr>
            <a:spLocks noGrp="1"/>
          </p:cNvSpPr>
          <p:nvPr>
            <p:ph idx="1"/>
          </p:nvPr>
        </p:nvSpPr>
        <p:spPr>
          <a:xfrm>
            <a:off x="457201" y="1855894"/>
            <a:ext cx="6705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C24A3A5-AEC3-4D3C-B23F-33D3C8F09335}" type="datetimeFigureOut">
              <a:rPr lang="en-US" smtClean="0"/>
              <a:t>3/2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40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p:nvSpPr>
        <p:spPr bwMode="auto">
          <a:xfrm>
            <a:off x="1" y="486"/>
            <a:ext cx="12192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1751" y="0"/>
            <a:ext cx="11588495" cy="1097280"/>
          </a:xfrm>
        </p:spPr>
        <p:txBody>
          <a:bodyPr>
            <a:normAutofit/>
          </a:bodyPr>
          <a:lstStyle>
            <a:lvl1pPr>
              <a:defRPr sz="2400"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423317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554"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C24A3A5-AEC3-4D3C-B23F-33D3C8F09335}" type="datetimeFigureOut">
              <a:rPr lang="en-US" smtClean="0"/>
              <a:t>3/2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281277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466344" y="1371600"/>
            <a:ext cx="5413248"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466344" y="2552200"/>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6793" y="1371601"/>
            <a:ext cx="5413248"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352032" y="2570226"/>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C24A3A5-AEC3-4D3C-B23F-33D3C8F09335}" type="datetimeFigureOut">
              <a:rPr lang="en-US" smtClean="0"/>
              <a:t>3/2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345813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798"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112" indent="0" algn="ctr">
              <a:buNone/>
              <a:defRPr sz="2800"/>
            </a:lvl2pPr>
            <a:lvl3pPr marL="914225" indent="0" algn="ctr">
              <a:buNone/>
              <a:defRPr sz="2400"/>
            </a:lvl3pPr>
            <a:lvl4pPr marL="1371337" indent="0" algn="ctr">
              <a:buNone/>
              <a:defRPr sz="2000"/>
            </a:lvl4pPr>
            <a:lvl5pPr marL="1828449" indent="0" algn="ctr">
              <a:buNone/>
              <a:defRPr sz="2000"/>
            </a:lvl5pPr>
            <a:lvl6pPr marL="2285561" indent="0" algn="ctr">
              <a:buNone/>
              <a:defRPr sz="2000"/>
            </a:lvl6pPr>
            <a:lvl7pPr marL="2742674" indent="0" algn="ctr">
              <a:buNone/>
              <a:defRPr sz="2000"/>
            </a:lvl7pPr>
            <a:lvl8pPr marL="3199785" indent="0" algn="ctr">
              <a:buNone/>
              <a:defRPr sz="2000"/>
            </a:lvl8pPr>
            <a:lvl9pPr marL="3656897"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EC24A3A5-AEC3-4D3C-B23F-33D3C8F09335}" type="datetimeFigureOut">
              <a:rPr lang="en-US" smtClean="0"/>
              <a:t>3/21/2021</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FCC631FF-58BB-4A6E-8DF8-53935FA44373}" type="slidenum">
              <a:rPr lang="en-US" smtClean="0"/>
              <a:t>‹#›</a:t>
            </a:fld>
            <a:endParaRPr lang="en-US"/>
          </a:p>
        </p:txBody>
      </p:sp>
      <p:grpSp>
        <p:nvGrpSpPr>
          <p:cNvPr id="10" name="Group 9">
            <a:extLst>
              <a:ext uri="{FF2B5EF4-FFF2-40B4-BE49-F238E27FC236}">
                <a16:creationId xmlns:a16="http://schemas.microsoft.com/office/drawing/2014/main" id="{5D89DCB7-E81A-47EB-AA9E-4D3837D378A3}"/>
              </a:ext>
            </a:extLst>
          </p:cNvPr>
          <p:cNvGrpSpPr>
            <a:grpSpLocks noChangeAspect="1"/>
          </p:cNvGrpSpPr>
          <p:nvPr/>
        </p:nvGrpSpPr>
        <p:grpSpPr bwMode="black">
          <a:xfrm>
            <a:off x="667513" y="459572"/>
            <a:ext cx="1448129" cy="310896"/>
            <a:chOff x="457200" y="1643393"/>
            <a:chExt cx="4492753" cy="964540"/>
          </a:xfrm>
        </p:grpSpPr>
        <p:pic>
          <p:nvPicPr>
            <p:cNvPr id="11" name="Picture 10">
              <a:extLst>
                <a:ext uri="{FF2B5EF4-FFF2-40B4-BE49-F238E27FC236}">
                  <a16:creationId xmlns:a16="http://schemas.microsoft.com/office/drawing/2014/main" id="{AFE758BC-3485-4ACD-A87C-C01986688254}"/>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BB16719D-703F-406C-9D2C-D03DF3F49D8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595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77145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875280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6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1281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970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12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912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6591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47842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719424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19574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028492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415462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811994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2625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55302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151450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090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757803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69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2026369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7050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2378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1138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247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033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27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3457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007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483749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1305"/>
          <a:stretch/>
        </p:blipFill>
        <p:spPr>
          <a:xfrm>
            <a:off x="274249" y="257318"/>
            <a:ext cx="110359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1888695"/>
            <a:ext cx="3357156" cy="1150187"/>
          </a:xfrm>
          <a:noFill/>
        </p:spPr>
        <p:txBody>
          <a:bodyPr lIns="0" tIns="0" rIns="0" bIns="182880" anchor="b" anchorCtr="0"/>
          <a:lstStyle>
            <a:lvl1pPr>
              <a:defRPr sz="3137" strike="noStrike" spc="-49"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317635"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7" name="Footer Placeholder 5">
            <a:extLst>
              <a:ext uri="{FF2B5EF4-FFF2-40B4-BE49-F238E27FC236}">
                <a16:creationId xmlns:a16="http://schemas.microsoft.com/office/drawing/2014/main" id="{56A077E7-B81C-E94A-946B-1C3ABED432A1}"/>
              </a:ext>
            </a:extLst>
          </p:cNvPr>
          <p:cNvSpPr txBox="1">
            <a:spLocks/>
          </p:cNvSpPr>
          <p:nvPr userDrawn="1"/>
        </p:nvSpPr>
        <p:spPr>
          <a:xfrm>
            <a:off x="361838" y="6450194"/>
            <a:ext cx="11586711" cy="273946"/>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686"/>
              <a:t>Microsoft Confidential: Content is shared under NDA with Microsoft CAB members</a:t>
            </a:r>
          </a:p>
        </p:txBody>
      </p:sp>
    </p:spTree>
    <p:extLst>
      <p:ext uri="{BB962C8B-B14F-4D97-AF65-F5344CB8AC3E}">
        <p14:creationId xmlns:p14="http://schemas.microsoft.com/office/powerpoint/2010/main" val="249091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5357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395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31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7519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3175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39233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27380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102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1/2021</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265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428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313708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6582124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74899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1118310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65913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4765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85814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68820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21/03/2021</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82872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49659374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8605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119033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2481860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97777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4372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69023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619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4505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2943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1902989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461548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42718556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b="1" strike="noStrike" spc="-49" baseline="0">
                <a:gradFill>
                  <a:gsLst>
                    <a:gs pos="83000">
                      <a:schemeClr val="accent4"/>
                    </a:gs>
                    <a:gs pos="99000">
                      <a:schemeClr val="accent4"/>
                    </a:gs>
                  </a:gsLst>
                  <a:lin ang="5400000" scaled="1"/>
                </a:gradFill>
              </a:defRPr>
            </a:lvl1pPr>
          </a:lstStyle>
          <a:p>
            <a:r>
              <a:rPr lang="en-US"/>
              <a:t>Dynamics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4149473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gradFill>
                  <a:gsLst>
                    <a:gs pos="83000">
                      <a:schemeClr val="tx1"/>
                    </a:gs>
                    <a:gs pos="99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gradFill>
                  <a:gsLst>
                    <a:gs pos="83000">
                      <a:schemeClr val="tx2"/>
                    </a:gs>
                    <a:gs pos="99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218956231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gradFill>
                  <a:gsLst>
                    <a:gs pos="83000">
                      <a:schemeClr val="tx1"/>
                    </a:gs>
                    <a:gs pos="99000">
                      <a:schemeClr val="tx1"/>
                    </a:gs>
                  </a:gsLst>
                  <a:lin ang="5400000" scaled="1"/>
                </a:gradFill>
                <a:latin typeface="+mj-lt"/>
              </a:defRPr>
            </a:lvl1pPr>
            <a:lvl2pPr marL="0" indent="0">
              <a:lnSpc>
                <a:spcPts val="2353"/>
              </a:lnSpc>
              <a:buNone/>
              <a:defRPr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83000">
                      <a:schemeClr val="tx1"/>
                    </a:gs>
                    <a:gs pos="99000">
                      <a:schemeClr val="tx1"/>
                    </a:gs>
                  </a:gsLst>
                  <a:lin ang="5400000" scaled="1"/>
                </a:gradFill>
              </a:defRPr>
            </a:lvl2pPr>
            <a:lvl3pPr marL="448193" indent="0">
              <a:buNone/>
              <a:defRPr/>
            </a:lvl3pPr>
            <a:lvl4pPr marL="672290" indent="0">
              <a:buNone/>
              <a:defRPr/>
            </a:lvl4pPr>
            <a:lvl5pPr marL="0" indent="0">
              <a:lnSpc>
                <a:spcPct val="100000"/>
              </a:lnSpc>
              <a:buNone/>
              <a:defRPr>
                <a:gradFill>
                  <a:gsLst>
                    <a:gs pos="83000">
                      <a:schemeClr val="tx1"/>
                    </a:gs>
                    <a:gs pos="99000">
                      <a:schemeClr val="tx1"/>
                    </a:gs>
                  </a:gsLst>
                  <a:lin ang="5400000" scaled="1"/>
                </a:gradFill>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85991284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gradFill>
                  <a:gsLst>
                    <a:gs pos="83000">
                      <a:schemeClr val="tx1"/>
                    </a:gs>
                    <a:gs pos="99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9900162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187615627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2029656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65794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69199"/>
          </a:xfrm>
        </p:spPr>
        <p:txBody>
          <a:bodyPr/>
          <a:lstStyle>
            <a:lvl1pPr>
              <a:defRPr>
                <a:gradFill>
                  <a:gsLst>
                    <a:gs pos="83000">
                      <a:schemeClr val="bg2"/>
                    </a:gs>
                    <a:gs pos="100000">
                      <a:schemeClr val="bg2"/>
                    </a:gs>
                  </a:gsLst>
                  <a:lin ang="5400000" scaled="1"/>
                </a:gradFill>
              </a:defRPr>
            </a:lvl1pPr>
            <a:lvl2pPr>
              <a:defRPr>
                <a:gradFill>
                  <a:gsLst>
                    <a:gs pos="83000">
                      <a:schemeClr val="bg2"/>
                    </a:gs>
                    <a:gs pos="100000">
                      <a:schemeClr val="bg2"/>
                    </a:gs>
                  </a:gsLst>
                  <a:lin ang="5400000" scaled="1"/>
                </a:gradFill>
              </a:defRPr>
            </a:lvl2pPr>
            <a:lvl3pPr>
              <a:defRPr>
                <a:gradFill>
                  <a:gsLst>
                    <a:gs pos="83000">
                      <a:schemeClr val="bg2"/>
                    </a:gs>
                    <a:gs pos="100000">
                      <a:schemeClr val="bg2"/>
                    </a:gs>
                  </a:gsLst>
                  <a:lin ang="5400000" scaled="1"/>
                </a:gradFill>
              </a:defRPr>
            </a:lvl3pPr>
            <a:lvl4pPr>
              <a:defRPr>
                <a:gradFill>
                  <a:gsLst>
                    <a:gs pos="83000">
                      <a:schemeClr val="bg2"/>
                    </a:gs>
                    <a:gs pos="100000">
                      <a:schemeClr val="bg2"/>
                    </a:gs>
                  </a:gsLst>
                  <a:lin ang="5400000" scaled="1"/>
                </a:gradFill>
              </a:defRPr>
            </a:lvl4pPr>
            <a:lvl5pPr>
              <a:defRPr>
                <a:gradFill>
                  <a:gsLst>
                    <a:gs pos="83000">
                      <a:schemeClr val="bg2"/>
                    </a:gs>
                    <a:gs pos="100000">
                      <a:schemeClr val="bg2"/>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00674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229516970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381933098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9322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59521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bg1"/>
                    </a:gs>
                    <a:gs pos="99000">
                      <a:schemeClr val="bg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3273978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accent5"/>
                    </a:gs>
                    <a:gs pos="99000">
                      <a:schemeClr val="accent5"/>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552354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gradFill>
                  <a:gsLst>
                    <a:gs pos="8300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181744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377376379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tx1"/>
                    </a:gs>
                    <a:gs pos="99000">
                      <a:schemeClr val="tx1"/>
                    </a:gs>
                  </a:gsLst>
                  <a:lin ang="5400000" scaled="1"/>
                </a:gradFill>
              </a:defRPr>
            </a:lvl1pPr>
          </a:lstStyle>
          <a:p>
            <a:r>
              <a:rPr lang="en-US"/>
              <a:t>Thank you.</a:t>
            </a:r>
          </a:p>
        </p:txBody>
      </p:sp>
    </p:spTree>
    <p:extLst>
      <p:ext uri="{BB962C8B-B14F-4D97-AF65-F5344CB8AC3E}">
        <p14:creationId xmlns:p14="http://schemas.microsoft.com/office/powerpoint/2010/main" val="977274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839935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263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3/21/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21/03/2021</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21/03/2021</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21/03/2021</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21/03/2021</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21/03/2021</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21/03/2021</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21/03/2021</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A79512-5207-4C2D-93CE-D43C0082D2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70116" y="0"/>
            <a:ext cx="8221884" cy="6857999"/>
          </a:xfrm>
          <a:prstGeom prst="rect">
            <a:avLst/>
          </a:prstGeom>
        </p:spPr>
      </p:pic>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A close up of a logo&#10;&#10;Description automatically generated">
              <a:extLst>
                <a:ext uri="{FF2B5EF4-FFF2-40B4-BE49-F238E27FC236}">
                  <a16:creationId xmlns:a16="http://schemas.microsoft.com/office/drawing/2014/main" id="{88B1501B-B3B4-4848-B7C2-263C99292DD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1" y="2002419"/>
              <a:ext cx="3172944" cy="1426579"/>
            </a:xfrm>
            <a:prstGeom prst="rect">
              <a:avLst/>
            </a:prstGeom>
          </p:spPr>
        </p:pic>
        <p:pic>
          <p:nvPicPr>
            <p:cNvPr id="7" name="Picture 6">
              <a:extLst>
                <a:ext uri="{FF2B5EF4-FFF2-40B4-BE49-F238E27FC236}">
                  <a16:creationId xmlns:a16="http://schemas.microsoft.com/office/drawing/2014/main" id="{7A0C8DF6-81D8-4842-A0DF-8FE8AA8464E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76600" y="3962400"/>
              <a:ext cx="4170025" cy="341406"/>
            </a:xfrm>
            <a:prstGeom prst="rect">
              <a:avLst/>
            </a:prstGeom>
          </p:spPr>
        </p:pic>
      </p:grpSp>
    </p:spTree>
    <p:extLst>
      <p:ext uri="{BB962C8B-B14F-4D97-AF65-F5344CB8AC3E}">
        <p14:creationId xmlns:p14="http://schemas.microsoft.com/office/powerpoint/2010/main" val="1636965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grpSp>
        <p:nvGrpSpPr>
          <p:cNvPr id="13" name="Group 12">
            <a:extLst>
              <a:ext uri="{FF2B5EF4-FFF2-40B4-BE49-F238E27FC236}">
                <a16:creationId xmlns:a16="http://schemas.microsoft.com/office/drawing/2014/main" id="{5C67BE41-7986-462F-AC1B-939AF1CF94E7}"/>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3088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53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2048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49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3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8057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4.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image" Target="../media/image6.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image" Target="../media/image6.emf"/><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4.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image" Target="../media/image6.emf"/><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image" Target="../media/image37.emf"/><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heme" Target="../theme/theme6.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image" Target="../media/image6.emf"/><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theme" Target="../theme/theme7.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34" Type="http://schemas.openxmlformats.org/officeDocument/2006/relationships/image" Target="../media/image6.emf"/><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theme" Target="../theme/theme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slideLayout" Target="../slideLayouts/slideLayout213.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21" Type="http://schemas.openxmlformats.org/officeDocument/2006/relationships/image" Target="../media/image59.pn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9.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21/03/2021</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759"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4" r:id="rId8"/>
    <p:sldLayoutId id="2147483675" r:id="rId9"/>
    <p:sldLayoutId id="2147483676" r:id="rId10"/>
    <p:sldLayoutId id="2147483677" r:id="rId11"/>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2" r:id="rId34"/>
    <p:sldLayoutId id="2147483723" r:id="rId35"/>
    <p:sldLayoutId id="2147483726"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5123179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81604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 id="2147483841" r:id="rId21"/>
    <p:sldLayoutId id="2147483842" r:id="rId22"/>
    <p:sldLayoutId id="2147483843" r:id="rId23"/>
    <p:sldLayoutId id="2147483844"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2147392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37534235"/>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 id="2147483908" r:id="rId31"/>
    <p:sldLayoutId id="2147483929"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2118425893"/>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70.svg"/><Relationship Id="rId3" Type="http://schemas.microsoft.com/office/2018/10/relationships/comments" Target="../comments/modernComment_7BBF5832_72B077DC.xml"/><Relationship Id="rId7" Type="http://schemas.openxmlformats.org/officeDocument/2006/relationships/image" Target="../media/image69.png"/><Relationship Id="rId2" Type="http://schemas.openxmlformats.org/officeDocument/2006/relationships/notesSlide" Target="../notesSlides/notesSlide10.xml"/><Relationship Id="rId1" Type="http://schemas.openxmlformats.org/officeDocument/2006/relationships/slideLayout" Target="../slideLayouts/slideLayout191.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2.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1.xml"/><Relationship Id="rId1" Type="http://schemas.openxmlformats.org/officeDocument/2006/relationships/tags" Target="../tags/tag2.xml"/><Relationship Id="rId4" Type="http://schemas.openxmlformats.org/officeDocument/2006/relationships/image" Target="../media/image63.emf"/></Relationships>
</file>

<file path=ppt/slides/_rels/slide12.xml.rels><?xml version="1.0" encoding="UTF-8" standalone="yes"?>
<Relationships xmlns="http://schemas.openxmlformats.org/package/2006/relationships"><Relationship Id="rId2" Type="http://schemas.microsoft.com/office/2018/10/relationships/comments" Target="../comments/modernComment_7BBF5831_90A4E7C0.xml"/><Relationship Id="rId1" Type="http://schemas.openxmlformats.org/officeDocument/2006/relationships/slideLayout" Target="../slideLayouts/slideLayout191.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7BBF555C_1D4579CB.xml"/><Relationship Id="rId2" Type="http://schemas.openxmlformats.org/officeDocument/2006/relationships/notesSlide" Target="../notesSlides/notesSlide12.xml"/><Relationship Id="rId1" Type="http://schemas.openxmlformats.org/officeDocument/2006/relationships/slideLayout" Target="../slideLayouts/slideLayout191.xml"/><Relationship Id="rId4" Type="http://schemas.openxmlformats.org/officeDocument/2006/relationships/image" Target="../media/image71.png"/></Relationships>
</file>

<file path=ppt/slides/_rels/slide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191.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191.xml"/></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191.xml"/></Relationships>
</file>

<file path=ppt/slides/_rels/slide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191.xml"/></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191.xml"/></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191.xml"/></Relationships>
</file>

<file path=ppt/slides/_rels/slide2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2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7.xml"/></Relationships>
</file>

<file path=ppt/slides/_rels/slide24.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79.png"/><Relationship Id="rId7" Type="http://schemas.openxmlformats.org/officeDocument/2006/relationships/diagramColors" Target="../diagrams/colors4.xml"/><Relationship Id="rId12" Type="http://schemas.openxmlformats.org/officeDocument/2006/relationships/image" Target="../media/image82.png"/><Relationship Id="rId2" Type="http://schemas.openxmlformats.org/officeDocument/2006/relationships/notesSlide" Target="../notesSlides/notesSlide23.xml"/><Relationship Id="rId1" Type="http://schemas.openxmlformats.org/officeDocument/2006/relationships/slideLayout" Target="../slideLayouts/slideLayout191.xml"/><Relationship Id="rId6" Type="http://schemas.openxmlformats.org/officeDocument/2006/relationships/diagramQuickStyle" Target="../diagrams/quickStyle4.xml"/><Relationship Id="rId11" Type="http://schemas.openxmlformats.org/officeDocument/2006/relationships/image" Target="../media/image81.png"/><Relationship Id="rId5" Type="http://schemas.openxmlformats.org/officeDocument/2006/relationships/diagramLayout" Target="../diagrams/layout4.xml"/><Relationship Id="rId10" Type="http://schemas.openxmlformats.org/officeDocument/2006/relationships/image" Target="../media/image80.png"/><Relationship Id="rId4" Type="http://schemas.openxmlformats.org/officeDocument/2006/relationships/diagramData" Target="../diagrams/data4.xml"/><Relationship Id="rId9" Type="http://schemas.openxmlformats.org/officeDocument/2006/relationships/image" Target="../media/image62.png"/></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4.xml"/><Relationship Id="rId1" Type="http://schemas.openxmlformats.org/officeDocument/2006/relationships/slideLayout" Target="../slideLayouts/slideLayout191.xml"/></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2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8.xml"/><Relationship Id="rId1" Type="http://schemas.openxmlformats.org/officeDocument/2006/relationships/tags" Target="../tags/tag1.xml"/><Relationship Id="rId6" Type="http://schemas.openxmlformats.org/officeDocument/2006/relationships/image" Target="../media/image63.emf"/><Relationship Id="rId5" Type="http://schemas.openxmlformats.org/officeDocument/2006/relationships/image" Target="../media/image62.png"/><Relationship Id="rId4" Type="http://schemas.microsoft.com/office/2018/10/relationships/comments" Target="../comments/modernComment_7BBF5833_E855211E.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2.xml"/></Relationships>
</file>

<file path=ppt/slides/_rels/slide8.xml.rels><?xml version="1.0" encoding="UTF-8" standalone="yes"?>
<Relationships xmlns="http://schemas.openxmlformats.org/package/2006/relationships"><Relationship Id="rId8" Type="http://schemas.microsoft.com/office/2007/relationships/diagramDrawing" Target="../diagrams/drawing3.xml"/><Relationship Id="rId3" Type="http://schemas.microsoft.com/office/2018/10/relationships/comments" Target="../comments/modernComment_7BBF582C_7916BD30.xml"/><Relationship Id="rId7" Type="http://schemas.openxmlformats.org/officeDocument/2006/relationships/diagramColors" Target="../diagrams/colors3.xml"/><Relationship Id="rId2" Type="http://schemas.openxmlformats.org/officeDocument/2006/relationships/notesSlide" Target="../notesSlides/notesSlide8.xml"/><Relationship Id="rId1" Type="http://schemas.openxmlformats.org/officeDocument/2006/relationships/slideLayout" Target="../slideLayouts/slideLayout22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62.png"/></Relationships>
</file>

<file path=ppt/slides/_rels/slide9.xml.rels><?xml version="1.0" encoding="UTF-8" standalone="yes"?>
<Relationships xmlns="http://schemas.openxmlformats.org/package/2006/relationships"><Relationship Id="rId3" Type="http://schemas.microsoft.com/office/2018/10/relationships/comments" Target="../comments/modernComment_7BBF56CE_FAE02A9C.xml"/><Relationship Id="rId2" Type="http://schemas.openxmlformats.org/officeDocument/2006/relationships/notesSlide" Target="../notesSlides/notesSlide9.xml"/><Relationship Id="rId1" Type="http://schemas.openxmlformats.org/officeDocument/2006/relationships/slideLayout" Target="../slideLayouts/slideLayout223.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Platform + Dynamics 365</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DD0FB91-EB2B-42FE-9233-F393EEE78874}"/>
              </a:ext>
            </a:extLst>
          </p:cNvPr>
          <p:cNvCxnSpPr>
            <a:cxnSpLocks/>
            <a:stCxn id="107" idx="2"/>
          </p:cNvCxnSpPr>
          <p:nvPr/>
        </p:nvCxnSpPr>
        <p:spPr>
          <a:xfrm>
            <a:off x="1821698" y="2954866"/>
            <a:ext cx="8167900" cy="5342"/>
          </a:xfrm>
          <a:prstGeom prst="line">
            <a:avLst/>
          </a:prstGeom>
          <a:ln w="15875">
            <a:solidFill>
              <a:schemeClr val="tx1"/>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CE12E11D-A83F-41A6-BC3E-39B76CC23A19}"/>
              </a:ext>
            </a:extLst>
          </p:cNvPr>
          <p:cNvGrpSpPr>
            <a:grpSpLocks noChangeAspect="1"/>
          </p:cNvGrpSpPr>
          <p:nvPr/>
        </p:nvGrpSpPr>
        <p:grpSpPr>
          <a:xfrm>
            <a:off x="4302245" y="2429236"/>
            <a:ext cx="1051262" cy="1051262"/>
            <a:chOff x="5216175" y="2901971"/>
            <a:chExt cx="1715723" cy="1715723"/>
          </a:xfrm>
          <a:effectLst/>
        </p:grpSpPr>
        <p:sp>
          <p:nvSpPr>
            <p:cNvPr id="118" name="Oval 117">
              <a:extLst>
                <a:ext uri="{FF2B5EF4-FFF2-40B4-BE49-F238E27FC236}">
                  <a16:creationId xmlns:a16="http://schemas.microsoft.com/office/drawing/2014/main" id="{1EDEF4A0-F38D-4EDB-8429-7E0E7E6068ED}"/>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9" name="Group 4">
              <a:extLst>
                <a:ext uri="{FF2B5EF4-FFF2-40B4-BE49-F238E27FC236}">
                  <a16:creationId xmlns:a16="http://schemas.microsoft.com/office/drawing/2014/main" id="{B24915F4-3375-469B-8F3D-F19EE5A7C51B}"/>
                </a:ext>
              </a:extLst>
            </p:cNvPr>
            <p:cNvGrpSpPr>
              <a:grpSpLocks noChangeAspect="1"/>
            </p:cNvGrpSpPr>
            <p:nvPr/>
          </p:nvGrpSpPr>
          <p:grpSpPr bwMode="auto">
            <a:xfrm>
              <a:off x="5681957" y="3458106"/>
              <a:ext cx="784088" cy="603380"/>
              <a:chOff x="2880" y="2176"/>
              <a:chExt cx="256" cy="197"/>
            </a:xfrm>
            <a:solidFill>
              <a:srgbClr val="D2D2D2"/>
            </a:solidFill>
          </p:grpSpPr>
          <p:sp>
            <p:nvSpPr>
              <p:cNvPr id="120" name="Freeform 5">
                <a:extLst>
                  <a:ext uri="{FF2B5EF4-FFF2-40B4-BE49-F238E27FC236}">
                    <a16:creationId xmlns:a16="http://schemas.microsoft.com/office/drawing/2014/main" id="{1139E122-9A8D-4592-80A0-FE761D7A166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6FC5D41A-81CC-410A-A87F-49EAA9940A9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ED373A55-9984-4282-AB95-F131CCC77F1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A1B1CBBF-CADE-43C7-82B8-5B4E006F65A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6A137F24-C555-42B4-8EE2-2269892676F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444821CC-847D-407E-BF37-C2F779E0C19C}"/>
              </a:ext>
            </a:extLst>
          </p:cNvPr>
          <p:cNvGrpSpPr/>
          <p:nvPr/>
        </p:nvGrpSpPr>
        <p:grpSpPr>
          <a:xfrm>
            <a:off x="1821698" y="2429235"/>
            <a:ext cx="1051262" cy="1496906"/>
            <a:chOff x="3652520" y="2333616"/>
            <a:chExt cx="1051560" cy="1497330"/>
          </a:xfrm>
          <a:effectLst/>
        </p:grpSpPr>
        <p:sp>
          <p:nvSpPr>
            <p:cNvPr id="107" name="Oval 106">
              <a:extLst>
                <a:ext uri="{FF2B5EF4-FFF2-40B4-BE49-F238E27FC236}">
                  <a16:creationId xmlns:a16="http://schemas.microsoft.com/office/drawing/2014/main" id="{28F45A20-B240-4E82-B5FA-B37D401BCE1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8" name="Group 12">
              <a:extLst>
                <a:ext uri="{FF2B5EF4-FFF2-40B4-BE49-F238E27FC236}">
                  <a16:creationId xmlns:a16="http://schemas.microsoft.com/office/drawing/2014/main" id="{BEBE1C06-609A-486F-8F71-1A4008D238C9}"/>
                </a:ext>
              </a:extLst>
            </p:cNvPr>
            <p:cNvGrpSpPr>
              <a:grpSpLocks noChangeAspect="1"/>
            </p:cNvGrpSpPr>
            <p:nvPr/>
          </p:nvGrpSpPr>
          <p:grpSpPr bwMode="auto">
            <a:xfrm>
              <a:off x="3936139" y="2675429"/>
              <a:ext cx="484321" cy="367935"/>
              <a:chOff x="4543" y="2176"/>
              <a:chExt cx="258" cy="196"/>
            </a:xfrm>
            <a:solidFill>
              <a:schemeClr val="bg1"/>
            </a:solidFill>
          </p:grpSpPr>
          <p:sp>
            <p:nvSpPr>
              <p:cNvPr id="109" name="Freeform 13">
                <a:extLst>
                  <a:ext uri="{FF2B5EF4-FFF2-40B4-BE49-F238E27FC236}">
                    <a16:creationId xmlns:a16="http://schemas.microsoft.com/office/drawing/2014/main" id="{205CD46B-A014-4A82-A9B6-843CD898AF7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0" name="Freeform 14">
                <a:extLst>
                  <a:ext uri="{FF2B5EF4-FFF2-40B4-BE49-F238E27FC236}">
                    <a16:creationId xmlns:a16="http://schemas.microsoft.com/office/drawing/2014/main" id="{2096627B-9B88-4BD1-927D-A2D1075DE28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1" name="Freeform 15">
                <a:extLst>
                  <a:ext uri="{FF2B5EF4-FFF2-40B4-BE49-F238E27FC236}">
                    <a16:creationId xmlns:a16="http://schemas.microsoft.com/office/drawing/2014/main" id="{C334BDA8-F437-49D1-988E-96B90D9653F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2" name="Freeform 16">
                <a:extLst>
                  <a:ext uri="{FF2B5EF4-FFF2-40B4-BE49-F238E27FC236}">
                    <a16:creationId xmlns:a16="http://schemas.microsoft.com/office/drawing/2014/main" id="{D47FDF7F-2B5D-4FD9-95A8-9D62F5A38EF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3" name="Freeform 17">
                <a:extLst>
                  <a:ext uri="{FF2B5EF4-FFF2-40B4-BE49-F238E27FC236}">
                    <a16:creationId xmlns:a16="http://schemas.microsoft.com/office/drawing/2014/main" id="{29251F67-3E7A-4AB6-B764-25FEA60FFA1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F3DD603F-7F47-43E6-B1AC-13C35FAABCC8}"/>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128" name="Rectangle 127">
            <a:extLst>
              <a:ext uri="{FF2B5EF4-FFF2-40B4-BE49-F238E27FC236}">
                <a16:creationId xmlns:a16="http://schemas.microsoft.com/office/drawing/2014/main" id="{E00758DF-4989-4603-88C7-7F5C9861F625}"/>
              </a:ext>
            </a:extLst>
          </p:cNvPr>
          <p:cNvSpPr/>
          <p:nvPr/>
        </p:nvSpPr>
        <p:spPr bwMode="auto">
          <a:xfrm>
            <a:off x="4551857" y="3729348"/>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7" name="Group 6">
            <a:extLst>
              <a:ext uri="{FF2B5EF4-FFF2-40B4-BE49-F238E27FC236}">
                <a16:creationId xmlns:a16="http://schemas.microsoft.com/office/drawing/2014/main" id="{36A25DC1-39A2-409B-A8B9-3CC71C46A14F}"/>
              </a:ext>
            </a:extLst>
          </p:cNvPr>
          <p:cNvGrpSpPr/>
          <p:nvPr/>
        </p:nvGrpSpPr>
        <p:grpSpPr>
          <a:xfrm>
            <a:off x="6528258" y="2417399"/>
            <a:ext cx="1555241" cy="2351957"/>
            <a:chOff x="7233314" y="2333615"/>
            <a:chExt cx="1555682" cy="2352624"/>
          </a:xfrm>
          <a:effectLst/>
        </p:grpSpPr>
        <p:grpSp>
          <p:nvGrpSpPr>
            <p:cNvPr id="100" name="Group 99">
              <a:extLst>
                <a:ext uri="{FF2B5EF4-FFF2-40B4-BE49-F238E27FC236}">
                  <a16:creationId xmlns:a16="http://schemas.microsoft.com/office/drawing/2014/main" id="{1E9DD084-E2F0-42BC-A037-38C6CFC4B075}"/>
                </a:ext>
              </a:extLst>
            </p:cNvPr>
            <p:cNvGrpSpPr/>
            <p:nvPr/>
          </p:nvGrpSpPr>
          <p:grpSpPr>
            <a:xfrm>
              <a:off x="7487920" y="2333615"/>
              <a:ext cx="1051560" cy="1051560"/>
              <a:chOff x="4726930" y="4471472"/>
              <a:chExt cx="703088" cy="703088"/>
            </a:xfrm>
            <a:effectLst>
              <a:outerShdw blurRad="177800" dist="177800" dir="5400000" algn="t" rotWithShape="0">
                <a:prstClr val="black">
                  <a:alpha val="10000"/>
                </a:prstClr>
              </a:outerShdw>
            </a:effectLst>
          </p:grpSpPr>
          <p:sp>
            <p:nvSpPr>
              <p:cNvPr id="114" name="Oval 113">
                <a:extLst>
                  <a:ext uri="{FF2B5EF4-FFF2-40B4-BE49-F238E27FC236}">
                    <a16:creationId xmlns:a16="http://schemas.microsoft.com/office/drawing/2014/main" id="{7177F338-8EF3-47F7-BEE4-38AC5F78A2E9}"/>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5" name="Group 114">
                <a:extLst>
                  <a:ext uri="{FF2B5EF4-FFF2-40B4-BE49-F238E27FC236}">
                    <a16:creationId xmlns:a16="http://schemas.microsoft.com/office/drawing/2014/main" id="{E3996239-B2B9-4496-A7D3-A39DA171609D}"/>
                  </a:ext>
                </a:extLst>
              </p:cNvPr>
              <p:cNvGrpSpPr/>
              <p:nvPr/>
            </p:nvGrpSpPr>
            <p:grpSpPr>
              <a:xfrm>
                <a:off x="4902990" y="4689695"/>
                <a:ext cx="350968" cy="266644"/>
                <a:chOff x="-1146792" y="678443"/>
                <a:chExt cx="1017587" cy="773113"/>
              </a:xfrm>
              <a:solidFill>
                <a:srgbClr val="D2D2D2"/>
              </a:solidFill>
            </p:grpSpPr>
            <p:sp>
              <p:nvSpPr>
                <p:cNvPr id="116" name="Freeform 5">
                  <a:extLst>
                    <a:ext uri="{FF2B5EF4-FFF2-40B4-BE49-F238E27FC236}">
                      <a16:creationId xmlns:a16="http://schemas.microsoft.com/office/drawing/2014/main" id="{3B50786F-E7AF-418A-849D-5CC39CD2173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6">
                  <a:extLst>
                    <a:ext uri="{FF2B5EF4-FFF2-40B4-BE49-F238E27FC236}">
                      <a16:creationId xmlns:a16="http://schemas.microsoft.com/office/drawing/2014/main" id="{DD9B0C91-7EF5-4028-A72A-BC28868B03A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79814888-8963-4CFD-8FB2-F655784DA35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41" name="Group 40">
            <a:extLst>
              <a:ext uri="{FF2B5EF4-FFF2-40B4-BE49-F238E27FC236}">
                <a16:creationId xmlns:a16="http://schemas.microsoft.com/office/drawing/2014/main" id="{A6BF7233-3FA0-4E1C-B665-62FB3AD683FE}"/>
              </a:ext>
            </a:extLst>
          </p:cNvPr>
          <p:cNvGrpSpPr/>
          <p:nvPr/>
        </p:nvGrpSpPr>
        <p:grpSpPr>
          <a:xfrm>
            <a:off x="9007564" y="2429235"/>
            <a:ext cx="1555241" cy="2351956"/>
            <a:chOff x="7233314" y="2333616"/>
            <a:chExt cx="1555682" cy="2352623"/>
          </a:xfrm>
          <a:effectLst/>
        </p:grpSpPr>
        <p:sp>
          <p:nvSpPr>
            <p:cNvPr id="44" name="Oval 43">
              <a:extLst>
                <a:ext uri="{FF2B5EF4-FFF2-40B4-BE49-F238E27FC236}">
                  <a16:creationId xmlns:a16="http://schemas.microsoft.com/office/drawing/2014/main" id="{9071C593-1573-4DC0-83E9-F26C60AF6FDA}"/>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36B8F1B8-8FD2-4CD6-803B-E4CC828F4287}"/>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pic>
        <p:nvPicPr>
          <p:cNvPr id="6" name="Picture 5" descr="A picture containing drawing&#10;&#10;Description automatically generated">
            <a:extLst>
              <a:ext uri="{FF2B5EF4-FFF2-40B4-BE49-F238E27FC236}">
                <a16:creationId xmlns:a16="http://schemas.microsoft.com/office/drawing/2014/main" id="{F690597A-6B3C-4A98-B6A1-0FE58ED99B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10394" y="2694177"/>
            <a:ext cx="553237" cy="553237"/>
          </a:xfrm>
          <a:prstGeom prst="rect">
            <a:avLst/>
          </a:prstGeom>
        </p:spPr>
      </p:pic>
      <p:sp>
        <p:nvSpPr>
          <p:cNvPr id="49" name="Rectangle 48">
            <a:extLst>
              <a:ext uri="{FF2B5EF4-FFF2-40B4-BE49-F238E27FC236}">
                <a16:creationId xmlns:a16="http://schemas.microsoft.com/office/drawing/2014/main" id="{190B96B7-8807-41BB-BD62-FC84902D23FD}"/>
              </a:ext>
            </a:extLst>
          </p:cNvPr>
          <p:cNvSpPr/>
          <p:nvPr/>
        </p:nvSpPr>
        <p:spPr>
          <a:xfrm>
            <a:off x="797674" y="1130491"/>
            <a:ext cx="10690451" cy="923330"/>
          </a:xfrm>
          <a:prstGeom prst="rect">
            <a:avLst/>
          </a:prstGeom>
          <a:noFill/>
          <a:ln w="9525" cap="flat" cmpd="sng" algn="ctr">
            <a:noFill/>
            <a:prstDash val="dash"/>
          </a:ln>
          <a:effectLst/>
        </p:spPr>
        <p:txBody>
          <a:bodyPr wrap="none" lIns="91401" tIns="0" rIns="0" bIns="0" rtlCol="0" anchor="ctr" anchorCtr="0">
            <a:spAutoFit/>
          </a:bodyPr>
          <a:lstStyle/>
          <a:p>
            <a:pPr marL="0" marR="0" lvl="0" indent="0" algn="just"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ctr" defTabSz="91352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A1A"/>
              </a:solidFill>
              <a:effectLst/>
              <a:uLnTx/>
              <a:uFillTx/>
              <a:latin typeface="Segoe UI"/>
              <a:ea typeface="+mn-ea"/>
              <a:cs typeface="Segoe UI" panose="020B0502040204020203" pitchFamily="34" charset="0"/>
            </a:endParaRPr>
          </a:p>
          <a:p>
            <a:pPr marL="0" marR="0" lvl="0" indent="0" algn="ctr" defTabSz="91352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A1A1A"/>
                </a:solidFill>
                <a:effectLst/>
                <a:uLnTx/>
                <a:uFillTx/>
                <a:latin typeface="Segoe UI"/>
                <a:ea typeface="+mn-ea"/>
                <a:cs typeface="Segoe UI"/>
              </a:rPr>
              <a:t>Innovation anywhere. Unlocks value everywhere.</a:t>
            </a:r>
          </a:p>
        </p:txBody>
      </p:sp>
      <p:sp>
        <p:nvSpPr>
          <p:cNvPr id="2" name="Title 1">
            <a:extLst>
              <a:ext uri="{FF2B5EF4-FFF2-40B4-BE49-F238E27FC236}">
                <a16:creationId xmlns:a16="http://schemas.microsoft.com/office/drawing/2014/main" id="{F87415D6-2C7C-4258-B77D-9DD671B4C098}"/>
              </a:ext>
            </a:extLst>
          </p:cNvPr>
          <p:cNvSpPr>
            <a:spLocks noGrp="1"/>
          </p:cNvSpPr>
          <p:nvPr>
            <p:ph type="title"/>
          </p:nvPr>
        </p:nvSpPr>
        <p:spPr>
          <a:xfrm>
            <a:off x="588263" y="457200"/>
            <a:ext cx="11018520" cy="553998"/>
          </a:xfrm>
        </p:spPr>
        <p:txBody>
          <a:bodyPr/>
          <a:lstStyle/>
          <a:p>
            <a:pPr algn="ctr"/>
            <a:r>
              <a:rPr lang="en-US">
                <a:solidFill>
                  <a:srgbClr val="1A1A1A"/>
                </a:solidFill>
              </a:rPr>
              <a:t>Microsoft Power Platform</a:t>
            </a:r>
            <a:endParaRPr lang="en-US"/>
          </a:p>
        </p:txBody>
      </p:sp>
      <p:grpSp>
        <p:nvGrpSpPr>
          <p:cNvPr id="59" name="Group 58">
            <a:extLst>
              <a:ext uri="{FF2B5EF4-FFF2-40B4-BE49-F238E27FC236}">
                <a16:creationId xmlns:a16="http://schemas.microsoft.com/office/drawing/2014/main" id="{459335C8-A836-4D5C-B651-8EABDA7FD872}"/>
              </a:ext>
            </a:extLst>
          </p:cNvPr>
          <p:cNvGrpSpPr/>
          <p:nvPr/>
        </p:nvGrpSpPr>
        <p:grpSpPr>
          <a:xfrm>
            <a:off x="3062902" y="4618887"/>
            <a:ext cx="6066195" cy="1781913"/>
            <a:chOff x="2900270" y="4854646"/>
            <a:chExt cx="6066195" cy="1781913"/>
          </a:xfrm>
        </p:grpSpPr>
        <p:sp>
          <p:nvSpPr>
            <p:cNvPr id="60" name="Rectangle 42">
              <a:extLst>
                <a:ext uri="{FF2B5EF4-FFF2-40B4-BE49-F238E27FC236}">
                  <a16:creationId xmlns:a16="http://schemas.microsoft.com/office/drawing/2014/main" id="{1ABB4055-4615-4DA1-9778-6C9EEB753244}"/>
                </a:ext>
              </a:extLst>
            </p:cNvPr>
            <p:cNvSpPr/>
            <p:nvPr/>
          </p:nvSpPr>
          <p:spPr bwMode="auto">
            <a:xfrm flipV="1">
              <a:off x="3220285" y="4859169"/>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3C3C41">
                  <a:lumMod val="50000"/>
                  <a:lumOff val="50000"/>
                </a:srgbClr>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EA81A0C1-DA3A-4CD8-B117-DF8379FA1CB2}"/>
                </a:ext>
              </a:extLst>
            </p:cNvPr>
            <p:cNvSpPr/>
            <p:nvPr/>
          </p:nvSpPr>
          <p:spPr bwMode="auto">
            <a:xfrm>
              <a:off x="8414426" y="6072635"/>
              <a:ext cx="552039" cy="1967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mmon</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 Service</a:t>
              </a:r>
            </a:p>
          </p:txBody>
        </p:sp>
        <p:sp>
          <p:nvSpPr>
            <p:cNvPr id="62" name="Rectangle 61">
              <a:extLst>
                <a:ext uri="{FF2B5EF4-FFF2-40B4-BE49-F238E27FC236}">
                  <a16:creationId xmlns:a16="http://schemas.microsoft.com/office/drawing/2014/main" id="{21EA3ECE-925A-44DD-AD74-57F9954D2464}"/>
                </a:ext>
              </a:extLst>
            </p:cNvPr>
            <p:cNvSpPr/>
            <p:nvPr/>
          </p:nvSpPr>
          <p:spPr bwMode="auto">
            <a:xfrm>
              <a:off x="2900270" y="6083906"/>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nnectors</a:t>
              </a:r>
            </a:p>
          </p:txBody>
        </p:sp>
        <p:pic>
          <p:nvPicPr>
            <p:cNvPr id="64" name="Graphic 63">
              <a:extLst>
                <a:ext uri="{FF2B5EF4-FFF2-40B4-BE49-F238E27FC236}">
                  <a16:creationId xmlns:a16="http://schemas.microsoft.com/office/drawing/2014/main" id="{07368059-E170-497D-9030-FCAC065B8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10760" y="5316505"/>
              <a:ext cx="655705" cy="655705"/>
            </a:xfrm>
            <a:prstGeom prst="rect">
              <a:avLst/>
            </a:prstGeom>
          </p:spPr>
        </p:pic>
        <p:cxnSp>
          <p:nvCxnSpPr>
            <p:cNvPr id="65" name="Straight Connector 64">
              <a:extLst>
                <a:ext uri="{FF2B5EF4-FFF2-40B4-BE49-F238E27FC236}">
                  <a16:creationId xmlns:a16="http://schemas.microsoft.com/office/drawing/2014/main" id="{596C7912-FDC1-421E-9D74-78674EAC1F57}"/>
                </a:ext>
              </a:extLst>
            </p:cNvPr>
            <p:cNvCxnSpPr>
              <a:cxnSpLocks/>
            </p:cNvCxnSpPr>
            <p:nvPr/>
          </p:nvCxnSpPr>
          <p:spPr>
            <a:xfrm>
              <a:off x="4990277" y="4859168"/>
              <a:ext cx="0" cy="329848"/>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sp>
          <p:nvSpPr>
            <p:cNvPr id="66" name="plug" title="Icon of a power plug showing an A to B connection">
              <a:extLst>
                <a:ext uri="{FF2B5EF4-FFF2-40B4-BE49-F238E27FC236}">
                  <a16:creationId xmlns:a16="http://schemas.microsoft.com/office/drawing/2014/main" id="{75D2E7C6-23CF-4BD2-901A-5852FE438081}"/>
                </a:ext>
              </a:extLst>
            </p:cNvPr>
            <p:cNvSpPr>
              <a:spLocks noChangeAspect="1" noEditPoints="1"/>
            </p:cNvSpPr>
            <p:nvPr/>
          </p:nvSpPr>
          <p:spPr bwMode="auto">
            <a:xfrm>
              <a:off x="2912543" y="5266130"/>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cmpd="sng" algn="ctr">
              <a:solidFill>
                <a:srgbClr val="3C3C41">
                  <a:lumMod val="50000"/>
                </a:srgbClr>
              </a:solidFill>
              <a:prstDash val="solid"/>
              <a:headEnd/>
              <a:tailEnd/>
            </a:ln>
            <a:effectLst/>
          </p:spPr>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67" name="Graphic 66">
              <a:extLst>
                <a:ext uri="{FF2B5EF4-FFF2-40B4-BE49-F238E27FC236}">
                  <a16:creationId xmlns:a16="http://schemas.microsoft.com/office/drawing/2014/main" id="{C1165CEA-0CE7-412D-A952-5C6A0E40D02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8964" y="5266130"/>
              <a:ext cx="700873" cy="719646"/>
            </a:xfrm>
            <a:prstGeom prst="rect">
              <a:avLst/>
            </a:prstGeom>
          </p:spPr>
        </p:pic>
        <p:grpSp>
          <p:nvGrpSpPr>
            <p:cNvPr id="68" name="Group 67">
              <a:extLst>
                <a:ext uri="{FF2B5EF4-FFF2-40B4-BE49-F238E27FC236}">
                  <a16:creationId xmlns:a16="http://schemas.microsoft.com/office/drawing/2014/main" id="{ABBD3C9A-58D5-4330-8F03-8614647DAFCB}"/>
                </a:ext>
              </a:extLst>
            </p:cNvPr>
            <p:cNvGrpSpPr/>
            <p:nvPr/>
          </p:nvGrpSpPr>
          <p:grpSpPr>
            <a:xfrm>
              <a:off x="6559575" y="4854646"/>
              <a:ext cx="552039" cy="1542599"/>
              <a:chOff x="5784065" y="4859576"/>
              <a:chExt cx="552196" cy="1543038"/>
            </a:xfrm>
          </p:grpSpPr>
          <p:sp>
            <p:nvSpPr>
              <p:cNvPr id="75" name="Rectangle 74">
                <a:extLst>
                  <a:ext uri="{FF2B5EF4-FFF2-40B4-BE49-F238E27FC236}">
                    <a16:creationId xmlns:a16="http://schemas.microsoft.com/office/drawing/2014/main" id="{FDE6CAD0-56F0-4385-BECC-25270A92F6F0}"/>
                  </a:ext>
                </a:extLst>
              </p:cNvPr>
              <p:cNvSpPr/>
              <p:nvPr/>
            </p:nvSpPr>
            <p:spPr bwMode="auto">
              <a:xfrm>
                <a:off x="5784065" y="6205764"/>
                <a:ext cx="552196" cy="19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76" name="Straight Connector 75">
                <a:extLst>
                  <a:ext uri="{FF2B5EF4-FFF2-40B4-BE49-F238E27FC236}">
                    <a16:creationId xmlns:a16="http://schemas.microsoft.com/office/drawing/2014/main" id="{B46382AA-57BD-4E32-B0EB-9A79F8061959}"/>
                  </a:ext>
                </a:extLst>
              </p:cNvPr>
              <p:cNvCxnSpPr>
                <a:cxnSpLocks/>
              </p:cNvCxnSpPr>
              <p:nvPr/>
            </p:nvCxnSpPr>
            <p:spPr>
              <a:xfrm>
                <a:off x="6080623" y="4859576"/>
                <a:ext cx="0" cy="329941"/>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grpSp>
        <p:grpSp>
          <p:nvGrpSpPr>
            <p:cNvPr id="69" name="Group 68">
              <a:extLst>
                <a:ext uri="{FF2B5EF4-FFF2-40B4-BE49-F238E27FC236}">
                  <a16:creationId xmlns:a16="http://schemas.microsoft.com/office/drawing/2014/main" id="{B0981A32-A693-46F9-8131-78D46C2B8B1F}"/>
                </a:ext>
              </a:extLst>
            </p:cNvPr>
            <p:cNvGrpSpPr/>
            <p:nvPr/>
          </p:nvGrpSpPr>
          <p:grpSpPr>
            <a:xfrm>
              <a:off x="4729818" y="5374138"/>
              <a:ext cx="475266" cy="454817"/>
              <a:chOff x="4646698" y="5316505"/>
              <a:chExt cx="766815" cy="803205"/>
            </a:xfrm>
          </p:grpSpPr>
          <p:sp>
            <p:nvSpPr>
              <p:cNvPr id="71" name="Oval 70">
                <a:extLst>
                  <a:ext uri="{FF2B5EF4-FFF2-40B4-BE49-F238E27FC236}">
                    <a16:creationId xmlns:a16="http://schemas.microsoft.com/office/drawing/2014/main" id="{FF39D6A4-4BA0-48D8-9A82-E3361D6F8664}"/>
                  </a:ext>
                </a:extLst>
              </p:cNvPr>
              <p:cNvSpPr/>
              <p:nvPr/>
            </p:nvSpPr>
            <p:spPr bwMode="auto">
              <a:xfrm>
                <a:off x="4646698" y="5316505"/>
                <a:ext cx="766815"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E8BAC2C3-73B0-485B-AD59-8892C94E337B}"/>
                  </a:ext>
                </a:extLst>
              </p:cNvPr>
              <p:cNvSpPr/>
              <p:nvPr/>
            </p:nvSpPr>
            <p:spPr bwMode="auto">
              <a:xfrm>
                <a:off x="4835540" y="5316505"/>
                <a:ext cx="389129"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Straight Connector 72">
                <a:extLst>
                  <a:ext uri="{FF2B5EF4-FFF2-40B4-BE49-F238E27FC236}">
                    <a16:creationId xmlns:a16="http://schemas.microsoft.com/office/drawing/2014/main" id="{2BFFB71B-4DFF-4937-A4DB-8D670167553E}"/>
                  </a:ext>
                </a:extLst>
              </p:cNvPr>
              <p:cNvCxnSpPr>
                <a:cxnSpLocks/>
              </p:cNvCxnSpPr>
              <p:nvPr/>
            </p:nvCxnSpPr>
            <p:spPr>
              <a:xfrm>
                <a:off x="4665464" y="5581237"/>
                <a:ext cx="706667" cy="0"/>
              </a:xfrm>
              <a:prstGeom prst="line">
                <a:avLst/>
              </a:prstGeom>
              <a:noFill/>
              <a:ln w="19050" cap="flat" cmpd="sng" algn="ctr">
                <a:solidFill>
                  <a:srgbClr val="3C3C41">
                    <a:lumMod val="50000"/>
                  </a:srgbClr>
                </a:solidFill>
                <a:prstDash val="solid"/>
                <a:headEnd type="none"/>
                <a:tailEnd type="none"/>
              </a:ln>
              <a:effectLst/>
            </p:spPr>
          </p:cxnSp>
          <p:cxnSp>
            <p:nvCxnSpPr>
              <p:cNvPr id="74" name="Straight Connector 73">
                <a:extLst>
                  <a:ext uri="{FF2B5EF4-FFF2-40B4-BE49-F238E27FC236}">
                    <a16:creationId xmlns:a16="http://schemas.microsoft.com/office/drawing/2014/main" id="{76562EF6-CC99-456A-BBE9-D9B0D1647400}"/>
                  </a:ext>
                </a:extLst>
              </p:cNvPr>
              <p:cNvCxnSpPr>
                <a:cxnSpLocks/>
              </p:cNvCxnSpPr>
              <p:nvPr/>
            </p:nvCxnSpPr>
            <p:spPr>
              <a:xfrm>
                <a:off x="4665464" y="5860035"/>
                <a:ext cx="731519" cy="0"/>
              </a:xfrm>
              <a:prstGeom prst="line">
                <a:avLst/>
              </a:prstGeom>
              <a:noFill/>
              <a:ln w="19050" cap="flat" cmpd="sng" algn="ctr">
                <a:solidFill>
                  <a:srgbClr val="3C3C41">
                    <a:lumMod val="50000"/>
                  </a:srgbClr>
                </a:solidFill>
                <a:prstDash val="solid"/>
                <a:headEnd type="none"/>
                <a:tailEnd type="none"/>
              </a:ln>
              <a:effectLst/>
            </p:spPr>
          </p:cxnSp>
        </p:grpSp>
        <p:sp>
          <p:nvSpPr>
            <p:cNvPr id="70" name="Rectangle 69">
              <a:extLst>
                <a:ext uri="{FF2B5EF4-FFF2-40B4-BE49-F238E27FC236}">
                  <a16:creationId xmlns:a16="http://schemas.microsoft.com/office/drawing/2014/main" id="{AD4BCB38-A27C-4826-B9A2-22F4185540EC}"/>
                </a:ext>
              </a:extLst>
            </p:cNvPr>
            <p:cNvSpPr/>
            <p:nvPr/>
          </p:nvSpPr>
          <p:spPr bwMode="auto">
            <a:xfrm>
              <a:off x="4704724" y="6190915"/>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Portals</a:t>
              </a:r>
            </a:p>
          </p:txBody>
        </p:sp>
      </p:grpSp>
    </p:spTree>
    <p:extLst>
      <p:ext uri="{BB962C8B-B14F-4D97-AF65-F5344CB8AC3E}">
        <p14:creationId xmlns:p14="http://schemas.microsoft.com/office/powerpoint/2010/main" val="1924167644"/>
      </p:ext>
    </p:extLst>
  </p:cSld>
  <p:clrMapOvr>
    <a:masterClrMapping/>
  </p:clrMapOvr>
  <p:transition>
    <p:fade/>
  </p:transition>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0891E31C-958D-46CC-822A-DF4694D5A839}"/>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B1F36CC-38F2-4DAF-8D48-FB4F98B6944D}"/>
              </a:ext>
            </a:extLst>
          </p:cNvPr>
          <p:cNvSpPr>
            <a:spLocks noGrp="1"/>
          </p:cNvSpPr>
          <p:nvPr>
            <p:ph type="title"/>
          </p:nvPr>
        </p:nvSpPr>
        <p:spPr/>
        <p:txBody>
          <a:bodyPr/>
          <a:lstStyle/>
          <a:p>
            <a:r>
              <a:rPr lang="en-US"/>
              <a:t>Power Virtual Agents is Designed For Everyone</a:t>
            </a:r>
            <a:br>
              <a:rPr lang="en-US"/>
            </a:br>
            <a:r>
              <a:rPr lang="en-US" sz="2200"/>
              <a:t>The chatbot service that enhances everyone’s experience</a:t>
            </a:r>
          </a:p>
        </p:txBody>
      </p:sp>
      <p:grpSp>
        <p:nvGrpSpPr>
          <p:cNvPr id="50" name="Group 49">
            <a:extLst>
              <a:ext uri="{FF2B5EF4-FFF2-40B4-BE49-F238E27FC236}">
                <a16:creationId xmlns:a16="http://schemas.microsoft.com/office/drawing/2014/main" id="{36E210EA-E7B6-466F-BD38-ECCCF5BB65AB}"/>
              </a:ext>
            </a:extLst>
          </p:cNvPr>
          <p:cNvGrpSpPr/>
          <p:nvPr/>
        </p:nvGrpSpPr>
        <p:grpSpPr>
          <a:xfrm>
            <a:off x="0" y="2098675"/>
            <a:ext cx="12192000" cy="2616027"/>
            <a:chOff x="0" y="2365375"/>
            <a:chExt cx="12192000" cy="2616027"/>
          </a:xfrm>
          <a:effectLst>
            <a:outerShdw blurRad="50800" dist="38100" dir="2700000" algn="ctr" rotWithShape="0">
              <a:srgbClr val="000000">
                <a:alpha val="40000"/>
              </a:srgbClr>
            </a:outerShdw>
          </a:effectLst>
        </p:grpSpPr>
        <p:sp>
          <p:nvSpPr>
            <p:cNvPr id="12" name="Rectangle 11">
              <a:extLst>
                <a:ext uri="{FF2B5EF4-FFF2-40B4-BE49-F238E27FC236}">
                  <a16:creationId xmlns:a16="http://schemas.microsoft.com/office/drawing/2014/main" id="{3F6EBFB2-6B4D-4BA9-A5B3-7C7310FB6E43}"/>
                </a:ext>
              </a:extLst>
            </p:cNvPr>
            <p:cNvSpPr/>
            <p:nvPr/>
          </p:nvSpPr>
          <p:spPr bwMode="auto">
            <a:xfrm>
              <a:off x="0" y="3653002"/>
              <a:ext cx="12192000" cy="1328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CAD29C-2291-42B7-8C3A-B10EC278D643}"/>
                </a:ext>
              </a:extLst>
            </p:cNvPr>
            <p:cNvGrpSpPr/>
            <p:nvPr/>
          </p:nvGrpSpPr>
          <p:grpSpPr>
            <a:xfrm>
              <a:off x="3509070" y="3518850"/>
              <a:ext cx="0" cy="1462552"/>
              <a:chOff x="3850822" y="4237589"/>
              <a:chExt cx="0" cy="1491879"/>
            </a:xfrm>
          </p:grpSpPr>
          <p:cxnSp>
            <p:nvCxnSpPr>
              <p:cNvPr id="42" name="Straight Connector 41">
                <a:extLst>
                  <a:ext uri="{FF2B5EF4-FFF2-40B4-BE49-F238E27FC236}">
                    <a16:creationId xmlns:a16="http://schemas.microsoft.com/office/drawing/2014/main" id="{72F36979-2CA8-4829-9E1E-3A7612335DC6}"/>
                  </a:ext>
                </a:extLst>
              </p:cNvPr>
              <p:cNvCxnSpPr>
                <a:cxnSpLocks/>
              </p:cNvCxnSpPr>
              <p:nvPr/>
            </p:nvCxnSpPr>
            <p:spPr>
              <a:xfrm>
                <a:off x="3850822"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F51A64-D599-47BC-8271-F3534BB5D3BF}"/>
                  </a:ext>
                </a:extLst>
              </p:cNvPr>
              <p:cNvCxnSpPr>
                <a:cxnSpLocks/>
              </p:cNvCxnSpPr>
              <p:nvPr/>
            </p:nvCxnSpPr>
            <p:spPr>
              <a:xfrm>
                <a:off x="3850822"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254707-F2C8-44BC-94EF-638BE49782CD}"/>
                </a:ext>
              </a:extLst>
            </p:cNvPr>
            <p:cNvGrpSpPr/>
            <p:nvPr/>
          </p:nvGrpSpPr>
          <p:grpSpPr>
            <a:xfrm>
              <a:off x="8352793" y="3518850"/>
              <a:ext cx="0" cy="1462552"/>
              <a:chOff x="7999787" y="4237589"/>
              <a:chExt cx="0" cy="1491879"/>
            </a:xfrm>
          </p:grpSpPr>
          <p:cxnSp>
            <p:nvCxnSpPr>
              <p:cNvPr id="40" name="Straight Connector 39">
                <a:extLst>
                  <a:ext uri="{FF2B5EF4-FFF2-40B4-BE49-F238E27FC236}">
                    <a16:creationId xmlns:a16="http://schemas.microsoft.com/office/drawing/2014/main" id="{B25B7CCE-1C43-411D-A09E-A401345399F9}"/>
                  </a:ext>
                </a:extLst>
              </p:cNvPr>
              <p:cNvCxnSpPr>
                <a:cxnSpLocks/>
              </p:cNvCxnSpPr>
              <p:nvPr/>
            </p:nvCxnSpPr>
            <p:spPr>
              <a:xfrm>
                <a:off x="7999787"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5A9FED-BDF8-431E-9245-5778AE55DBE9}"/>
                  </a:ext>
                </a:extLst>
              </p:cNvPr>
              <p:cNvCxnSpPr>
                <a:cxnSpLocks/>
              </p:cNvCxnSpPr>
              <p:nvPr/>
            </p:nvCxnSpPr>
            <p:spPr>
              <a:xfrm>
                <a:off x="7999787"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45C2869B-8FCA-4EFF-8DBF-0A808A24DA72}"/>
                </a:ext>
              </a:extLst>
            </p:cNvPr>
            <p:cNvSpPr txBox="1"/>
            <p:nvPr/>
          </p:nvSpPr>
          <p:spPr>
            <a:xfrm>
              <a:off x="4701258"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Subject Matter Experts</a:t>
              </a:r>
            </a:p>
          </p:txBody>
        </p:sp>
        <p:sp>
          <p:nvSpPr>
            <p:cNvPr id="16" name="TextBox 15">
              <a:extLst>
                <a:ext uri="{FF2B5EF4-FFF2-40B4-BE49-F238E27FC236}">
                  <a16:creationId xmlns:a16="http://schemas.microsoft.com/office/drawing/2014/main" id="{BC550135-E2DE-4232-8316-0CE8B4BF1463}"/>
                </a:ext>
              </a:extLst>
            </p:cNvPr>
            <p:cNvSpPr txBox="1"/>
            <p:nvPr/>
          </p:nvSpPr>
          <p:spPr>
            <a:xfrm>
              <a:off x="8682930" y="401982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T Admin/Dev</a:t>
              </a:r>
            </a:p>
          </p:txBody>
        </p:sp>
        <p:sp>
          <p:nvSpPr>
            <p:cNvPr id="17" name="TextBox 16">
              <a:extLst>
                <a:ext uri="{FF2B5EF4-FFF2-40B4-BE49-F238E27FC236}">
                  <a16:creationId xmlns:a16="http://schemas.microsoft.com/office/drawing/2014/main" id="{B24E5154-16FD-473A-BBF7-011AAD1993C6}"/>
                </a:ext>
              </a:extLst>
            </p:cNvPr>
            <p:cNvSpPr txBox="1"/>
            <p:nvPr/>
          </p:nvSpPr>
          <p:spPr>
            <a:xfrm>
              <a:off x="449355"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Your Customers</a:t>
              </a:r>
            </a:p>
          </p:txBody>
        </p:sp>
        <p:grpSp>
          <p:nvGrpSpPr>
            <p:cNvPr id="18" name="Group 17">
              <a:extLst>
                <a:ext uri="{FF2B5EF4-FFF2-40B4-BE49-F238E27FC236}">
                  <a16:creationId xmlns:a16="http://schemas.microsoft.com/office/drawing/2014/main" id="{3AB91BFB-9C5E-49F7-8977-B6FB4D5CB2AC}"/>
                </a:ext>
              </a:extLst>
            </p:cNvPr>
            <p:cNvGrpSpPr/>
            <p:nvPr/>
          </p:nvGrpSpPr>
          <p:grpSpPr>
            <a:xfrm>
              <a:off x="1184752" y="2429877"/>
              <a:ext cx="1244526" cy="957969"/>
              <a:chOff x="896532" y="785004"/>
              <a:chExt cx="684623" cy="526985"/>
            </a:xfrm>
            <a:solidFill>
              <a:srgbClr val="30E5D0"/>
            </a:solidFill>
          </p:grpSpPr>
          <p:sp>
            <p:nvSpPr>
              <p:cNvPr id="32" name="Oval 10">
                <a:extLst>
                  <a:ext uri="{FF2B5EF4-FFF2-40B4-BE49-F238E27FC236}">
                    <a16:creationId xmlns:a16="http://schemas.microsoft.com/office/drawing/2014/main" id="{0C645FCC-878F-4E20-A7EF-81CBEAA501C3}"/>
                  </a:ext>
                </a:extLst>
              </p:cNvPr>
              <p:cNvSpPr>
                <a:spLocks noChangeArrowheads="1"/>
              </p:cNvSpPr>
              <p:nvPr/>
            </p:nvSpPr>
            <p:spPr bwMode="auto">
              <a:xfrm>
                <a:off x="1135916" y="785004"/>
                <a:ext cx="218446" cy="218809"/>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solidFill>
                    <a:srgbClr val="000000"/>
                  </a:solidFill>
                  <a:effectLst/>
                  <a:uLnTx/>
                  <a:uFillTx/>
                  <a:latin typeface="Segoe"/>
                  <a:ea typeface="+mn-ea"/>
                  <a:cs typeface="+mn-cs"/>
                </a:endParaRPr>
              </a:p>
            </p:txBody>
          </p:sp>
          <p:sp>
            <p:nvSpPr>
              <p:cNvPr id="33" name="Freeform 11">
                <a:extLst>
                  <a:ext uri="{FF2B5EF4-FFF2-40B4-BE49-F238E27FC236}">
                    <a16:creationId xmlns:a16="http://schemas.microsoft.com/office/drawing/2014/main" id="{31F0174D-DBE9-4965-BAB4-D0F67B21BCE1}"/>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nvGrpSpPr>
              <p:cNvPr id="34" name="Group 33">
                <a:extLst>
                  <a:ext uri="{FF2B5EF4-FFF2-40B4-BE49-F238E27FC236}">
                    <a16:creationId xmlns:a16="http://schemas.microsoft.com/office/drawing/2014/main" id="{47F505EA-7525-4A27-B7F2-79EA9A89B147}"/>
                  </a:ext>
                </a:extLst>
              </p:cNvPr>
              <p:cNvGrpSpPr/>
              <p:nvPr/>
            </p:nvGrpSpPr>
            <p:grpSpPr>
              <a:xfrm>
                <a:off x="896532" y="873216"/>
                <a:ext cx="201230" cy="369682"/>
                <a:chOff x="851065" y="755975"/>
                <a:chExt cx="287391" cy="527971"/>
              </a:xfrm>
              <a:grpFill/>
            </p:grpSpPr>
            <p:sp>
              <p:nvSpPr>
                <p:cNvPr id="38" name="Oval 6">
                  <a:extLst>
                    <a:ext uri="{FF2B5EF4-FFF2-40B4-BE49-F238E27FC236}">
                      <a16:creationId xmlns:a16="http://schemas.microsoft.com/office/drawing/2014/main" id="{CDCFEEA3-FA36-4AE5-8B7E-C1C0E4A2D0C6}"/>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9" name="Freeform 7">
                  <a:extLst>
                    <a:ext uri="{FF2B5EF4-FFF2-40B4-BE49-F238E27FC236}">
                      <a16:creationId xmlns:a16="http://schemas.microsoft.com/office/drawing/2014/main" id="{F181522F-F4D6-40AF-9E01-7575D8668366}"/>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nvGrpSpPr>
              <p:cNvPr id="35" name="Group 34">
                <a:extLst>
                  <a:ext uri="{FF2B5EF4-FFF2-40B4-BE49-F238E27FC236}">
                    <a16:creationId xmlns:a16="http://schemas.microsoft.com/office/drawing/2014/main" id="{53E91DAF-DF14-4B43-829B-B1AE4FCD7EB8}"/>
                  </a:ext>
                </a:extLst>
              </p:cNvPr>
              <p:cNvGrpSpPr/>
              <p:nvPr/>
            </p:nvGrpSpPr>
            <p:grpSpPr>
              <a:xfrm flipH="1">
                <a:off x="1379925" y="873216"/>
                <a:ext cx="201230" cy="369682"/>
                <a:chOff x="851065" y="755975"/>
                <a:chExt cx="287391" cy="527971"/>
              </a:xfrm>
              <a:grpFill/>
            </p:grpSpPr>
            <p:sp>
              <p:nvSpPr>
                <p:cNvPr id="36" name="Oval 6">
                  <a:extLst>
                    <a:ext uri="{FF2B5EF4-FFF2-40B4-BE49-F238E27FC236}">
                      <a16:creationId xmlns:a16="http://schemas.microsoft.com/office/drawing/2014/main" id="{BC012A3E-49AE-4086-9AF8-F3E715FE0AE3}"/>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7" name="Freeform 7">
                  <a:extLst>
                    <a:ext uri="{FF2B5EF4-FFF2-40B4-BE49-F238E27FC236}">
                      <a16:creationId xmlns:a16="http://schemas.microsoft.com/office/drawing/2014/main" id="{606925BD-413A-4E17-A424-C30EA72E2007}"/>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grpSp>
          <p:nvGrpSpPr>
            <p:cNvPr id="19" name="Group 18">
              <a:extLst>
                <a:ext uri="{FF2B5EF4-FFF2-40B4-BE49-F238E27FC236}">
                  <a16:creationId xmlns:a16="http://schemas.microsoft.com/office/drawing/2014/main" id="{C97B3E2E-B740-4A8E-BA69-36F2F5B44271}"/>
                </a:ext>
              </a:extLst>
            </p:cNvPr>
            <p:cNvGrpSpPr/>
            <p:nvPr/>
          </p:nvGrpSpPr>
          <p:grpSpPr>
            <a:xfrm>
              <a:off x="5468814" y="2365375"/>
              <a:ext cx="1254373" cy="1096322"/>
              <a:chOff x="5661444" y="3219450"/>
              <a:chExt cx="1113586" cy="973275"/>
            </a:xfrm>
          </p:grpSpPr>
          <p:sp>
            <p:nvSpPr>
              <p:cNvPr id="25" name="Freeform: Shape 24">
                <a:extLst>
                  <a:ext uri="{FF2B5EF4-FFF2-40B4-BE49-F238E27FC236}">
                    <a16:creationId xmlns:a16="http://schemas.microsoft.com/office/drawing/2014/main" id="{2BD10783-0FCE-4CB9-835C-D97CBF5E364A}"/>
                  </a:ext>
                </a:extLst>
              </p:cNvPr>
              <p:cNvSpPr/>
              <p:nvPr/>
            </p:nvSpPr>
            <p:spPr>
              <a:xfrm>
                <a:off x="5847413" y="3219450"/>
                <a:ext cx="322940" cy="322940"/>
              </a:xfrm>
              <a:custGeom>
                <a:avLst/>
                <a:gdLst>
                  <a:gd name="connsiteX0" fmla="*/ 162584 w 322939"/>
                  <a:gd name="connsiteY0" fmla="*/ 325167 h 322940"/>
                  <a:gd name="connsiteX1" fmla="*/ 325167 w 322939"/>
                  <a:gd name="connsiteY1" fmla="*/ 162584 h 322940"/>
                  <a:gd name="connsiteX2" fmla="*/ 162584 w 322939"/>
                  <a:gd name="connsiteY2" fmla="*/ 0 h 322940"/>
                  <a:gd name="connsiteX3" fmla="*/ 0 w 322939"/>
                  <a:gd name="connsiteY3" fmla="*/ 162584 h 322940"/>
                  <a:gd name="connsiteX4" fmla="*/ 162584 w 322939"/>
                  <a:gd name="connsiteY4" fmla="*/ 325167 h 32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9" h="322940">
                    <a:moveTo>
                      <a:pt x="162584" y="325167"/>
                    </a:moveTo>
                    <a:cubicBezTo>
                      <a:pt x="251670" y="325167"/>
                      <a:pt x="325167" y="252784"/>
                      <a:pt x="325167" y="162584"/>
                    </a:cubicBezTo>
                    <a:cubicBezTo>
                      <a:pt x="325167" y="72383"/>
                      <a:pt x="251670" y="0"/>
                      <a:pt x="162584" y="0"/>
                    </a:cubicBezTo>
                    <a:cubicBezTo>
                      <a:pt x="73497" y="0"/>
                      <a:pt x="0" y="72383"/>
                      <a:pt x="0" y="162584"/>
                    </a:cubicBezTo>
                    <a:cubicBezTo>
                      <a:pt x="0" y="252784"/>
                      <a:pt x="72383" y="325167"/>
                      <a:pt x="162584" y="325167"/>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A41F0D2-AAB7-40C1-98DD-D748EB94A5E1}"/>
                  </a:ext>
                </a:extLst>
              </p:cNvPr>
              <p:cNvSpPr/>
              <p:nvPr/>
            </p:nvSpPr>
            <p:spPr>
              <a:xfrm>
                <a:off x="5661444" y="3563548"/>
                <a:ext cx="634744" cy="412027"/>
              </a:xfrm>
              <a:custGeom>
                <a:avLst/>
                <a:gdLst>
                  <a:gd name="connsiteX0" fmla="*/ 639198 w 634744"/>
                  <a:gd name="connsiteY0" fmla="*/ 59020 h 412026"/>
                  <a:gd name="connsiteX1" fmla="*/ 554566 w 634744"/>
                  <a:gd name="connsiteY1" fmla="*/ 11136 h 412026"/>
                  <a:gd name="connsiteX2" fmla="*/ 516704 w 634744"/>
                  <a:gd name="connsiteY2" fmla="*/ 0 h 412026"/>
                  <a:gd name="connsiteX3" fmla="*/ 357461 w 634744"/>
                  <a:gd name="connsiteY3" fmla="*/ 160356 h 412026"/>
                  <a:gd name="connsiteX4" fmla="*/ 197105 w 634744"/>
                  <a:gd name="connsiteY4" fmla="*/ 0 h 412026"/>
                  <a:gd name="connsiteX5" fmla="*/ 159243 w 634744"/>
                  <a:gd name="connsiteY5" fmla="*/ 11136 h 412026"/>
                  <a:gd name="connsiteX6" fmla="*/ 0 w 634744"/>
                  <a:gd name="connsiteY6" fmla="*/ 224944 h 412026"/>
                  <a:gd name="connsiteX7" fmla="*/ 0 w 634744"/>
                  <a:gd name="connsiteY7" fmla="*/ 420936 h 412026"/>
                  <a:gd name="connsiteX8" fmla="*/ 497773 w 634744"/>
                  <a:gd name="connsiteY8" fmla="*/ 420936 h 412026"/>
                  <a:gd name="connsiteX9" fmla="*/ 487751 w 634744"/>
                  <a:gd name="connsiteY9" fmla="*/ 339644 h 412026"/>
                  <a:gd name="connsiteX10" fmla="*/ 639198 w 634744"/>
                  <a:gd name="connsiteY10" fmla="*/ 59020 h 41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744" h="412026">
                    <a:moveTo>
                      <a:pt x="639198" y="59020"/>
                    </a:moveTo>
                    <a:cubicBezTo>
                      <a:pt x="614700" y="36748"/>
                      <a:pt x="585746" y="20045"/>
                      <a:pt x="554566" y="11136"/>
                    </a:cubicBezTo>
                    <a:lnTo>
                      <a:pt x="516704" y="0"/>
                    </a:lnTo>
                    <a:lnTo>
                      <a:pt x="357461" y="160356"/>
                    </a:lnTo>
                    <a:lnTo>
                      <a:pt x="197105" y="0"/>
                    </a:lnTo>
                    <a:lnTo>
                      <a:pt x="159243" y="11136"/>
                    </a:lnTo>
                    <a:cubicBezTo>
                      <a:pt x="64588" y="40089"/>
                      <a:pt x="0" y="125835"/>
                      <a:pt x="0" y="224944"/>
                    </a:cubicBezTo>
                    <a:lnTo>
                      <a:pt x="0" y="420936"/>
                    </a:lnTo>
                    <a:lnTo>
                      <a:pt x="497773" y="420936"/>
                    </a:lnTo>
                    <a:cubicBezTo>
                      <a:pt x="491091" y="395323"/>
                      <a:pt x="487751" y="367484"/>
                      <a:pt x="487751" y="339644"/>
                    </a:cubicBezTo>
                    <a:cubicBezTo>
                      <a:pt x="487751" y="222717"/>
                      <a:pt x="547884" y="119154"/>
                      <a:pt x="639198" y="5902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4D9D68C-32FE-4C52-8448-8892711905D4}"/>
                  </a:ext>
                </a:extLst>
              </p:cNvPr>
              <p:cNvSpPr/>
              <p:nvPr/>
            </p:nvSpPr>
            <p:spPr>
              <a:xfrm>
                <a:off x="6195965" y="3613660"/>
                <a:ext cx="579065" cy="579065"/>
              </a:xfrm>
              <a:custGeom>
                <a:avLst/>
                <a:gdLst>
                  <a:gd name="connsiteX0" fmla="*/ 289532 w 579064"/>
                  <a:gd name="connsiteY0" fmla="*/ 0 h 579064"/>
                  <a:gd name="connsiteX1" fmla="*/ 0 w 579064"/>
                  <a:gd name="connsiteY1" fmla="*/ 289532 h 579064"/>
                  <a:gd name="connsiteX2" fmla="*/ 289532 w 579064"/>
                  <a:gd name="connsiteY2" fmla="*/ 579065 h 579064"/>
                  <a:gd name="connsiteX3" fmla="*/ 579065 w 579064"/>
                  <a:gd name="connsiteY3" fmla="*/ 289532 h 579064"/>
                  <a:gd name="connsiteX4" fmla="*/ 289532 w 579064"/>
                  <a:gd name="connsiteY4" fmla="*/ 0 h 57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64" h="579064">
                    <a:moveTo>
                      <a:pt x="289532" y="0"/>
                    </a:moveTo>
                    <a:cubicBezTo>
                      <a:pt x="129176" y="0"/>
                      <a:pt x="0" y="130290"/>
                      <a:pt x="0" y="289532"/>
                    </a:cubicBezTo>
                    <a:cubicBezTo>
                      <a:pt x="0" y="449889"/>
                      <a:pt x="130290" y="579065"/>
                      <a:pt x="289532" y="579065"/>
                    </a:cubicBezTo>
                    <a:cubicBezTo>
                      <a:pt x="448775" y="579065"/>
                      <a:pt x="579065" y="448775"/>
                      <a:pt x="579065" y="289532"/>
                    </a:cubicBezTo>
                    <a:cubicBezTo>
                      <a:pt x="579065" y="130290"/>
                      <a:pt x="448775" y="0"/>
                      <a:pt x="289532" y="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46A5216B-FFA4-4AE8-AE64-F424563A8116}"/>
                  </a:ext>
                </a:extLst>
              </p:cNvPr>
              <p:cNvGrpSpPr/>
              <p:nvPr/>
            </p:nvGrpSpPr>
            <p:grpSpPr>
              <a:xfrm>
                <a:off x="6269682" y="3771901"/>
                <a:ext cx="421610" cy="258128"/>
                <a:chOff x="6289507" y="3784038"/>
                <a:chExt cx="381960" cy="233853"/>
              </a:xfrm>
            </p:grpSpPr>
            <p:sp>
              <p:nvSpPr>
                <p:cNvPr id="29" name="Freeform: Shape 28">
                  <a:extLst>
                    <a:ext uri="{FF2B5EF4-FFF2-40B4-BE49-F238E27FC236}">
                      <a16:creationId xmlns:a16="http://schemas.microsoft.com/office/drawing/2014/main" id="{63B9B64A-5A38-4435-A4D2-B46013C28B65}"/>
                    </a:ext>
                  </a:extLst>
                </p:cNvPr>
                <p:cNvSpPr/>
                <p:nvPr/>
              </p:nvSpPr>
              <p:spPr>
                <a:xfrm>
                  <a:off x="6289507" y="3806310"/>
                  <a:ext cx="111359" cy="167038"/>
                </a:xfrm>
                <a:custGeom>
                  <a:avLst/>
                  <a:gdLst>
                    <a:gd name="connsiteX0" fmla="*/ 120267 w 111358"/>
                    <a:gd name="connsiteY0" fmla="*/ 140312 h 167037"/>
                    <a:gd name="connsiteX1" fmla="*/ 86860 w 111358"/>
                    <a:gd name="connsiteY1" fmla="*/ 172606 h 167037"/>
                    <a:gd name="connsiteX2" fmla="*/ 0 w 111358"/>
                    <a:gd name="connsiteY2" fmla="*/ 85746 h 167037"/>
                    <a:gd name="connsiteX3" fmla="*/ 86860 w 111358"/>
                    <a:gd name="connsiteY3" fmla="*/ 0 h 167037"/>
                    <a:gd name="connsiteX4" fmla="*/ 120267 w 111358"/>
                    <a:gd name="connsiteY4" fmla="*/ 32294 h 167037"/>
                    <a:gd name="connsiteX5" fmla="*/ 65702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120267" y="140312"/>
                      </a:moveTo>
                      <a:lnTo>
                        <a:pt x="86860" y="172606"/>
                      </a:lnTo>
                      <a:lnTo>
                        <a:pt x="0" y="85746"/>
                      </a:lnTo>
                      <a:lnTo>
                        <a:pt x="86860" y="0"/>
                      </a:lnTo>
                      <a:lnTo>
                        <a:pt x="120267" y="32294"/>
                      </a:lnTo>
                      <a:lnTo>
                        <a:pt x="65702"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2D3FCB7-BE87-414B-8929-8B0C7DCA9D8C}"/>
                    </a:ext>
                  </a:extLst>
                </p:cNvPr>
                <p:cNvSpPr/>
                <p:nvPr/>
              </p:nvSpPr>
              <p:spPr>
                <a:xfrm>
                  <a:off x="6423137" y="3784038"/>
                  <a:ext cx="122494" cy="233853"/>
                </a:xfrm>
                <a:custGeom>
                  <a:avLst/>
                  <a:gdLst>
                    <a:gd name="connsiteX0" fmla="*/ 43430 w 122494"/>
                    <a:gd name="connsiteY0" fmla="*/ 239421 h 233853"/>
                    <a:gd name="connsiteX1" fmla="*/ 0 w 122494"/>
                    <a:gd name="connsiteY1" fmla="*/ 223831 h 233853"/>
                    <a:gd name="connsiteX2" fmla="*/ 81292 w 122494"/>
                    <a:gd name="connsiteY2" fmla="*/ 0 h 233853"/>
                    <a:gd name="connsiteX3" fmla="*/ 124722 w 122494"/>
                    <a:gd name="connsiteY3" fmla="*/ 15590 h 233853"/>
                  </a:gdLst>
                  <a:ahLst/>
                  <a:cxnLst>
                    <a:cxn ang="0">
                      <a:pos x="connsiteX0" y="connsiteY0"/>
                    </a:cxn>
                    <a:cxn ang="0">
                      <a:pos x="connsiteX1" y="connsiteY1"/>
                    </a:cxn>
                    <a:cxn ang="0">
                      <a:pos x="connsiteX2" y="connsiteY2"/>
                    </a:cxn>
                    <a:cxn ang="0">
                      <a:pos x="connsiteX3" y="connsiteY3"/>
                    </a:cxn>
                  </a:cxnLst>
                  <a:rect l="l" t="t" r="r" b="b"/>
                  <a:pathLst>
                    <a:path w="122494" h="233853">
                      <a:moveTo>
                        <a:pt x="43430" y="239421"/>
                      </a:moveTo>
                      <a:lnTo>
                        <a:pt x="0" y="223831"/>
                      </a:lnTo>
                      <a:lnTo>
                        <a:pt x="81292" y="0"/>
                      </a:lnTo>
                      <a:lnTo>
                        <a:pt x="124722" y="15590"/>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AABFB8D-A11E-487D-B117-4C97D1D389D9}"/>
                    </a:ext>
                  </a:extLst>
                </p:cNvPr>
                <p:cNvSpPr/>
                <p:nvPr/>
              </p:nvSpPr>
              <p:spPr>
                <a:xfrm>
                  <a:off x="6560108" y="3806310"/>
                  <a:ext cx="111359" cy="167038"/>
                </a:xfrm>
                <a:custGeom>
                  <a:avLst/>
                  <a:gdLst>
                    <a:gd name="connsiteX0" fmla="*/ 33408 w 111358"/>
                    <a:gd name="connsiteY0" fmla="*/ 172606 h 167037"/>
                    <a:gd name="connsiteX1" fmla="*/ 0 w 111358"/>
                    <a:gd name="connsiteY1" fmla="*/ 140312 h 167037"/>
                    <a:gd name="connsiteX2" fmla="*/ 54566 w 111358"/>
                    <a:gd name="connsiteY2" fmla="*/ 85746 h 167037"/>
                    <a:gd name="connsiteX3" fmla="*/ 0 w 111358"/>
                    <a:gd name="connsiteY3" fmla="*/ 32294 h 167037"/>
                    <a:gd name="connsiteX4" fmla="*/ 33408 w 111358"/>
                    <a:gd name="connsiteY4" fmla="*/ 0 h 167037"/>
                    <a:gd name="connsiteX5" fmla="*/ 120267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33408" y="172606"/>
                      </a:moveTo>
                      <a:lnTo>
                        <a:pt x="0" y="140312"/>
                      </a:lnTo>
                      <a:lnTo>
                        <a:pt x="54566" y="85746"/>
                      </a:lnTo>
                      <a:lnTo>
                        <a:pt x="0" y="32294"/>
                      </a:lnTo>
                      <a:lnTo>
                        <a:pt x="33408" y="0"/>
                      </a:lnTo>
                      <a:lnTo>
                        <a:pt x="120267"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B93F1240-4AA9-484D-83A2-560DA0F6291C}"/>
                </a:ext>
              </a:extLst>
            </p:cNvPr>
            <p:cNvGrpSpPr/>
            <p:nvPr/>
          </p:nvGrpSpPr>
          <p:grpSpPr>
            <a:xfrm>
              <a:off x="9683042" y="2454069"/>
              <a:ext cx="832182" cy="1004741"/>
              <a:chOff x="9877206" y="3151457"/>
              <a:chExt cx="848869" cy="1024888"/>
            </a:xfrm>
          </p:grpSpPr>
          <p:sp>
            <p:nvSpPr>
              <p:cNvPr id="21" name="Freeform: Shape 20">
                <a:extLst>
                  <a:ext uri="{FF2B5EF4-FFF2-40B4-BE49-F238E27FC236}">
                    <a16:creationId xmlns:a16="http://schemas.microsoft.com/office/drawing/2014/main" id="{BF888ADF-7B6A-4895-BCAB-AD918B3DAFEC}"/>
                  </a:ext>
                </a:extLst>
              </p:cNvPr>
              <p:cNvSpPr/>
              <p:nvPr/>
            </p:nvSpPr>
            <p:spPr>
              <a:xfrm>
                <a:off x="10285545" y="3795346"/>
                <a:ext cx="440530" cy="380999"/>
              </a:xfrm>
              <a:custGeom>
                <a:avLst/>
                <a:gdLst>
                  <a:gd name="connsiteX0" fmla="*/ 360997 w 352425"/>
                  <a:gd name="connsiteY0" fmla="*/ 267653 h 304800"/>
                  <a:gd name="connsiteX1" fmla="*/ 360997 w 352425"/>
                  <a:gd name="connsiteY1" fmla="*/ 0 h 304800"/>
                  <a:gd name="connsiteX2" fmla="*/ 0 w 352425"/>
                  <a:gd name="connsiteY2" fmla="*/ 0 h 304800"/>
                  <a:gd name="connsiteX3" fmla="*/ 0 w 352425"/>
                  <a:gd name="connsiteY3" fmla="*/ 267653 h 304800"/>
                  <a:gd name="connsiteX4" fmla="*/ 124778 w 352425"/>
                  <a:gd name="connsiteY4" fmla="*/ 267653 h 304800"/>
                  <a:gd name="connsiteX5" fmla="*/ 124778 w 352425"/>
                  <a:gd name="connsiteY5" fmla="*/ 292418 h 304800"/>
                  <a:gd name="connsiteX6" fmla="*/ 84773 w 352425"/>
                  <a:gd name="connsiteY6" fmla="*/ 292418 h 304800"/>
                  <a:gd name="connsiteX7" fmla="*/ 84773 w 352425"/>
                  <a:gd name="connsiteY7" fmla="*/ 306705 h 304800"/>
                  <a:gd name="connsiteX8" fmla="*/ 276225 w 352425"/>
                  <a:gd name="connsiteY8" fmla="*/ 306705 h 304800"/>
                  <a:gd name="connsiteX9" fmla="*/ 276225 w 352425"/>
                  <a:gd name="connsiteY9" fmla="*/ 292418 h 304800"/>
                  <a:gd name="connsiteX10" fmla="*/ 238125 w 352425"/>
                  <a:gd name="connsiteY10" fmla="*/ 292418 h 304800"/>
                  <a:gd name="connsiteX11" fmla="*/ 238125 w 352425"/>
                  <a:gd name="connsiteY11" fmla="*/ 26765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04800">
                    <a:moveTo>
                      <a:pt x="360997" y="267653"/>
                    </a:moveTo>
                    <a:lnTo>
                      <a:pt x="360997" y="0"/>
                    </a:lnTo>
                    <a:lnTo>
                      <a:pt x="0" y="0"/>
                    </a:lnTo>
                    <a:lnTo>
                      <a:pt x="0" y="267653"/>
                    </a:lnTo>
                    <a:lnTo>
                      <a:pt x="124778" y="267653"/>
                    </a:lnTo>
                    <a:lnTo>
                      <a:pt x="124778" y="292418"/>
                    </a:lnTo>
                    <a:lnTo>
                      <a:pt x="84773" y="292418"/>
                    </a:lnTo>
                    <a:lnTo>
                      <a:pt x="84773" y="306705"/>
                    </a:lnTo>
                    <a:lnTo>
                      <a:pt x="276225" y="306705"/>
                    </a:lnTo>
                    <a:lnTo>
                      <a:pt x="276225" y="292418"/>
                    </a:lnTo>
                    <a:lnTo>
                      <a:pt x="238125" y="292418"/>
                    </a:lnTo>
                    <a:lnTo>
                      <a:pt x="238125" y="267653"/>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F520644-D946-4946-8CB3-1D7EA9623140}"/>
                  </a:ext>
                </a:extLst>
              </p:cNvPr>
              <p:cNvSpPr/>
              <p:nvPr/>
            </p:nvSpPr>
            <p:spPr>
              <a:xfrm>
                <a:off x="9877206" y="3593417"/>
                <a:ext cx="657225" cy="381000"/>
              </a:xfrm>
              <a:custGeom>
                <a:avLst/>
                <a:gdLst>
                  <a:gd name="connsiteX0" fmla="*/ 370239 w 657225"/>
                  <a:gd name="connsiteY0" fmla="*/ 387667 h 381000"/>
                  <a:gd name="connsiteX1" fmla="*/ 370239 w 657225"/>
                  <a:gd name="connsiteY1" fmla="*/ 175260 h 381000"/>
                  <a:gd name="connsiteX2" fmla="*/ 663609 w 657225"/>
                  <a:gd name="connsiteY2" fmla="*/ 175260 h 381000"/>
                  <a:gd name="connsiteX3" fmla="*/ 663609 w 657225"/>
                  <a:gd name="connsiteY3" fmla="*/ 111442 h 381000"/>
                  <a:gd name="connsiteX4" fmla="*/ 544546 w 657225"/>
                  <a:gd name="connsiteY4" fmla="*/ 32385 h 381000"/>
                  <a:gd name="connsiteX5" fmla="*/ 544546 w 657225"/>
                  <a:gd name="connsiteY5" fmla="*/ 31432 h 381000"/>
                  <a:gd name="connsiteX6" fmla="*/ 442629 w 657225"/>
                  <a:gd name="connsiteY6" fmla="*/ 952 h 381000"/>
                  <a:gd name="connsiteX7" fmla="*/ 333091 w 657225"/>
                  <a:gd name="connsiteY7" fmla="*/ 136208 h 381000"/>
                  <a:gd name="connsiteX8" fmla="*/ 221649 w 657225"/>
                  <a:gd name="connsiteY8" fmla="*/ 0 h 381000"/>
                  <a:gd name="connsiteX9" fmla="*/ 115921 w 657225"/>
                  <a:gd name="connsiteY9" fmla="*/ 30480 h 381000"/>
                  <a:gd name="connsiteX10" fmla="*/ 115921 w 657225"/>
                  <a:gd name="connsiteY10" fmla="*/ 31432 h 381000"/>
                  <a:gd name="connsiteX11" fmla="*/ 669 w 657225"/>
                  <a:gd name="connsiteY11" fmla="*/ 110490 h 381000"/>
                  <a:gd name="connsiteX12" fmla="*/ 29244 w 657225"/>
                  <a:gd name="connsiteY12" fmla="*/ 284798 h 381000"/>
                  <a:gd name="connsiteX13" fmla="*/ 270226 w 657225"/>
                  <a:gd name="connsiteY13" fmla="*/ 385763 h 381000"/>
                  <a:gd name="connsiteX14" fmla="*/ 290229 w 657225"/>
                  <a:gd name="connsiteY14" fmla="*/ 387667 h 381000"/>
                  <a:gd name="connsiteX15" fmla="*/ 290229 w 657225"/>
                  <a:gd name="connsiteY15" fmla="*/ 387667 h 381000"/>
                  <a:gd name="connsiteX16" fmla="*/ 330234 w 657225"/>
                  <a:gd name="connsiteY16" fmla="*/ 388620 h 381000"/>
                  <a:gd name="connsiteX17" fmla="*/ 370239 w 657225"/>
                  <a:gd name="connsiteY17" fmla="*/ 387667 h 381000"/>
                  <a:gd name="connsiteX18" fmla="*/ 370239 w 657225"/>
                  <a:gd name="connsiteY18" fmla="*/ 3876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7225" h="381000">
                    <a:moveTo>
                      <a:pt x="370239" y="387667"/>
                    </a:moveTo>
                    <a:lnTo>
                      <a:pt x="370239" y="175260"/>
                    </a:lnTo>
                    <a:lnTo>
                      <a:pt x="663609" y="175260"/>
                    </a:lnTo>
                    <a:cubicBezTo>
                      <a:pt x="664561" y="153352"/>
                      <a:pt x="664561" y="131445"/>
                      <a:pt x="663609" y="111442"/>
                    </a:cubicBezTo>
                    <a:cubicBezTo>
                      <a:pt x="627414" y="75247"/>
                      <a:pt x="592171" y="49530"/>
                      <a:pt x="544546" y="32385"/>
                    </a:cubicBezTo>
                    <a:lnTo>
                      <a:pt x="544546" y="31432"/>
                    </a:lnTo>
                    <a:cubicBezTo>
                      <a:pt x="513114" y="15240"/>
                      <a:pt x="474061" y="6667"/>
                      <a:pt x="442629" y="952"/>
                    </a:cubicBezTo>
                    <a:cubicBezTo>
                      <a:pt x="426436" y="18097"/>
                      <a:pt x="368334" y="81915"/>
                      <a:pt x="333091" y="136208"/>
                    </a:cubicBezTo>
                    <a:cubicBezTo>
                      <a:pt x="297849" y="81915"/>
                      <a:pt x="238794" y="18097"/>
                      <a:pt x="221649" y="0"/>
                    </a:cubicBezTo>
                    <a:cubicBezTo>
                      <a:pt x="189264" y="5715"/>
                      <a:pt x="148306" y="14288"/>
                      <a:pt x="115921" y="30480"/>
                    </a:cubicBezTo>
                    <a:lnTo>
                      <a:pt x="115921" y="31432"/>
                    </a:lnTo>
                    <a:cubicBezTo>
                      <a:pt x="84489" y="48577"/>
                      <a:pt x="35911" y="74295"/>
                      <a:pt x="669" y="110490"/>
                    </a:cubicBezTo>
                    <a:cubicBezTo>
                      <a:pt x="-2189" y="170498"/>
                      <a:pt x="3526" y="250507"/>
                      <a:pt x="29244" y="284798"/>
                    </a:cubicBezTo>
                    <a:cubicBezTo>
                      <a:pt x="52104" y="315278"/>
                      <a:pt x="91156" y="374332"/>
                      <a:pt x="270226" y="385763"/>
                    </a:cubicBezTo>
                    <a:cubicBezTo>
                      <a:pt x="270226" y="385763"/>
                      <a:pt x="274989" y="386715"/>
                      <a:pt x="290229" y="387667"/>
                    </a:cubicBezTo>
                    <a:lnTo>
                      <a:pt x="290229" y="387667"/>
                    </a:lnTo>
                    <a:cubicBezTo>
                      <a:pt x="306421" y="388620"/>
                      <a:pt x="316899" y="388620"/>
                      <a:pt x="330234" y="388620"/>
                    </a:cubicBezTo>
                    <a:cubicBezTo>
                      <a:pt x="344521" y="388620"/>
                      <a:pt x="354999" y="388620"/>
                      <a:pt x="370239" y="387667"/>
                    </a:cubicBezTo>
                    <a:lnTo>
                      <a:pt x="370239" y="387667"/>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A4DA4C0F-A6AF-4274-AF09-9C36F75635AE}"/>
                  </a:ext>
                </a:extLst>
              </p:cNvPr>
              <p:cNvSpPr/>
              <p:nvPr/>
            </p:nvSpPr>
            <p:spPr>
              <a:xfrm>
                <a:off x="10015988" y="3151457"/>
                <a:ext cx="400050" cy="400050"/>
              </a:xfrm>
              <a:custGeom>
                <a:avLst/>
                <a:gdLst>
                  <a:gd name="connsiteX0" fmla="*/ 201930 w 400050"/>
                  <a:gd name="connsiteY0" fmla="*/ 404813 h 400050"/>
                  <a:gd name="connsiteX1" fmla="*/ 404813 w 400050"/>
                  <a:gd name="connsiteY1" fmla="*/ 202883 h 400050"/>
                  <a:gd name="connsiteX2" fmla="*/ 201930 w 400050"/>
                  <a:gd name="connsiteY2" fmla="*/ 0 h 400050"/>
                  <a:gd name="connsiteX3" fmla="*/ 0 w 400050"/>
                  <a:gd name="connsiteY3" fmla="*/ 202883 h 400050"/>
                  <a:gd name="connsiteX4" fmla="*/ 201930 w 400050"/>
                  <a:gd name="connsiteY4" fmla="*/ 404813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201930" y="404813"/>
                    </a:moveTo>
                    <a:cubicBezTo>
                      <a:pt x="313373" y="404813"/>
                      <a:pt x="404813" y="314325"/>
                      <a:pt x="404813" y="202883"/>
                    </a:cubicBezTo>
                    <a:cubicBezTo>
                      <a:pt x="404813" y="91440"/>
                      <a:pt x="313373" y="0"/>
                      <a:pt x="201930" y="0"/>
                    </a:cubicBezTo>
                    <a:cubicBezTo>
                      <a:pt x="90488" y="0"/>
                      <a:pt x="0" y="90488"/>
                      <a:pt x="0" y="202883"/>
                    </a:cubicBezTo>
                    <a:cubicBezTo>
                      <a:pt x="0" y="315278"/>
                      <a:pt x="90488" y="404813"/>
                      <a:pt x="201930" y="404813"/>
                    </a:cubicBez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75F141CE-0B9F-4C2F-9108-2A38CB201DD7}"/>
                  </a:ext>
                </a:extLst>
              </p:cNvPr>
              <p:cNvSpPr/>
              <p:nvPr/>
            </p:nvSpPr>
            <p:spPr bwMode="auto">
              <a:xfrm>
                <a:off x="10314998" y="3832107"/>
                <a:ext cx="381624" cy="2617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pic>
        <p:nvPicPr>
          <p:cNvPr id="6149" name="Picture 5">
            <a:extLst>
              <a:ext uri="{FF2B5EF4-FFF2-40B4-BE49-F238E27FC236}">
                <a16:creationId xmlns:a16="http://schemas.microsoft.com/office/drawing/2014/main" id="{3F209676-B4EC-4639-A408-7118114D4C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06817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43F9A-7C4D-4D6A-A6DB-45EBC24610BE}"/>
              </a:ext>
            </a:extLst>
          </p:cNvPr>
          <p:cNvSpPr>
            <a:spLocks noGrp="1"/>
          </p:cNvSpPr>
          <p:nvPr>
            <p:ph type="title"/>
          </p:nvPr>
        </p:nvSpPr>
        <p:spPr/>
        <p:txBody>
          <a:bodyPr/>
          <a:lstStyle/>
          <a:p>
            <a:r>
              <a:rPr lang="en-US" dirty="0"/>
              <a:t>A Robust Virtual Agent Platform</a:t>
            </a:r>
          </a:p>
        </p:txBody>
      </p:sp>
      <p:sp>
        <p:nvSpPr>
          <p:cNvPr id="11" name="Rectangle 10">
            <a:extLst>
              <a:ext uri="{FF2B5EF4-FFF2-40B4-BE49-F238E27FC236}">
                <a16:creationId xmlns:a16="http://schemas.microsoft.com/office/drawing/2014/main" id="{6431548C-76A0-441A-8EF8-9299D8216FBD}"/>
              </a:ext>
            </a:extLst>
          </p:cNvPr>
          <p:cNvSpPr/>
          <p:nvPr/>
        </p:nvSpPr>
        <p:spPr bwMode="auto">
          <a:xfrm>
            <a:off x="1168611"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Easily build powerful conversations </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68904E4-03BB-49B1-9D03-00231CC0A5E5}"/>
              </a:ext>
            </a:extLst>
          </p:cNvPr>
          <p:cNvSpPr/>
          <p:nvPr/>
        </p:nvSpPr>
        <p:spPr bwMode="auto">
          <a:xfrm>
            <a:off x="48844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Create personalized customer experiences</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42ED0B6E-DD6D-4AE9-9DC3-058F851652BB}"/>
              </a:ext>
            </a:extLst>
          </p:cNvPr>
          <p:cNvSpPr/>
          <p:nvPr/>
        </p:nvSpPr>
        <p:spPr bwMode="auto">
          <a:xfrm>
            <a:off x="86002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Limitless extensibility with Bot Framework Skills</a:t>
            </a:r>
            <a:endParaRPr kumimoji="0" lang="en-US" sz="1400" b="0" i="0" u="none" strike="noStrike" kern="1200" cap="none" spc="0" normalizeH="0" baseline="30000" noProof="0" dirty="0">
              <a:ln>
                <a:noFill/>
              </a:ln>
              <a:solidFill>
                <a:srgbClr val="14848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59D14A1-A7E0-47E1-AA62-1E482EFA4D73}"/>
              </a:ext>
            </a:extLst>
          </p:cNvPr>
          <p:cNvSpPr/>
          <p:nvPr/>
        </p:nvSpPr>
        <p:spPr>
          <a:xfrm>
            <a:off x="9181957" y="3640584"/>
            <a:ext cx="593432" cy="30777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6726336"/>
      </p:ext>
    </p:extLst>
  </p:cSld>
  <p:clrMapOvr>
    <a:masterClrMapping/>
  </p:clrMapOvr>
  <p:transition>
    <p:fade/>
  </p:transition>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Making Bots Eas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69181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imple, graphical bot creation</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Easily test and maintain bots through a simple, easy to use graphical interfac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xtract information from user responses</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Recognize, extract, and act on common entities in a user’s responses. For example, colors, currencies, ages, dates and times. Or create your own custom entities, e.g. model number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member user responses </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Store user information for use later in variables and use them to branch or create personalized conversation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C844876F-D1DA-4A03-BEE1-32FAF237A111}"/>
              </a:ext>
            </a:extLst>
          </p:cNvPr>
          <p:cNvPicPr>
            <a:picLocks noChangeAspect="1"/>
          </p:cNvPicPr>
          <p:nvPr/>
        </p:nvPicPr>
        <p:blipFill>
          <a:blip r:embed="rId4"/>
          <a:stretch>
            <a:fillRect/>
          </a:stretch>
        </p:blipFill>
        <p:spPr>
          <a:xfrm>
            <a:off x="5100498" y="1482392"/>
            <a:ext cx="6964651" cy="3918777"/>
          </a:xfrm>
          <a:prstGeom prst="rect">
            <a:avLst/>
          </a:prstGeom>
        </p:spPr>
      </p:pic>
    </p:spTree>
    <p:extLst>
      <p:ext uri="{BB962C8B-B14F-4D97-AF65-F5344CB8AC3E}">
        <p14:creationId xmlns:p14="http://schemas.microsoft.com/office/powerpoint/2010/main" val="4910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88="http://schemas.microsoft.com/office/powerpoint/2018/8/main" xmlns:a16="http://schemas.microsoft.com/office/drawing/2014/main" xmlns="">
      <p:transition spd="med">
        <p:fade/>
      </p:transition>
    </mc:Fallback>
  </mc:AlternateContent>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Get Started Quickl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237385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Learn from your website</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Just point the bot to your website, and it will extract common questions, FAQs and pre-build topics for you – so you can be up and running in minutes - out of the box.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F2F1778E-FC34-44FD-84D8-23E36D21398F}"/>
              </a:ext>
            </a:extLst>
          </p:cNvPr>
          <p:cNvPicPr>
            <a:picLocks noChangeAspect="1"/>
          </p:cNvPicPr>
          <p:nvPr/>
        </p:nvPicPr>
        <p:blipFill>
          <a:blip r:embed="rId3"/>
          <a:stretch>
            <a:fillRect/>
          </a:stretch>
        </p:blipFill>
        <p:spPr>
          <a:xfrm>
            <a:off x="5100498" y="1482078"/>
            <a:ext cx="6861338" cy="3997873"/>
          </a:xfrm>
          <a:prstGeom prst="rect">
            <a:avLst/>
          </a:prstGeom>
        </p:spPr>
      </p:pic>
    </p:spTree>
    <p:extLst>
      <p:ext uri="{BB962C8B-B14F-4D97-AF65-F5344CB8AC3E}">
        <p14:creationId xmlns:p14="http://schemas.microsoft.com/office/powerpoint/2010/main" val="24845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Avoid Repetitive Conversations</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380873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7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lot-filling capabilities</a:t>
            </a: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he bot doesn’t follow the dialog script blindly. It intelligently uses all the information it has to decide when to ask a question and when to skip them.</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For example, if the user provided information earlier in the conversation, the bot will remember it and skip asking about it again</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75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E51FB2D5-A297-4B43-926C-5D08CC644AC6}"/>
              </a:ext>
            </a:extLst>
          </p:cNvPr>
          <p:cNvPicPr>
            <a:picLocks noChangeAspect="1"/>
          </p:cNvPicPr>
          <p:nvPr/>
        </p:nvPicPr>
        <p:blipFill>
          <a:blip r:embed="rId3"/>
          <a:stretch>
            <a:fillRect/>
          </a:stretch>
        </p:blipFill>
        <p:spPr>
          <a:xfrm>
            <a:off x="5100498" y="1482078"/>
            <a:ext cx="6817079" cy="3835743"/>
          </a:xfrm>
          <a:prstGeom prst="rect">
            <a:avLst/>
          </a:prstGeom>
        </p:spPr>
      </p:pic>
    </p:spTree>
    <p:extLst>
      <p:ext uri="{BB962C8B-B14F-4D97-AF65-F5344CB8AC3E}">
        <p14:creationId xmlns:p14="http://schemas.microsoft.com/office/powerpoint/2010/main" val="34722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Converse everywhere</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1344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mn-cs"/>
              </a:rPr>
              <a:t>Use bots wherever you need them:</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Configure and deploy to multiple channel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embed your bot wherever your organization engages with customers: websites, mobile apps, Facebook, Teams or any of the dozens of channels supported by Azure Bot Servic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Deploy to demo sites with a single click</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est and gain feedback by deploying your bot to a demo website and sharing it internally with colleagues, before embedding it to your own website when ready</a:t>
            </a: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AF53F8E8-A1C7-46D2-9ADD-F71DAB7621BD}"/>
              </a:ext>
            </a:extLst>
          </p:cNvPr>
          <p:cNvPicPr>
            <a:picLocks noChangeAspect="1"/>
          </p:cNvPicPr>
          <p:nvPr/>
        </p:nvPicPr>
        <p:blipFill>
          <a:blip r:embed="rId3"/>
          <a:stretch>
            <a:fillRect/>
          </a:stretch>
        </p:blipFill>
        <p:spPr>
          <a:xfrm>
            <a:off x="5462185" y="1482079"/>
            <a:ext cx="6729816" cy="3935074"/>
          </a:xfrm>
          <a:prstGeom prst="rect">
            <a:avLst/>
          </a:prstGeom>
        </p:spPr>
      </p:pic>
    </p:spTree>
    <p:extLst>
      <p:ext uri="{BB962C8B-B14F-4D97-AF65-F5344CB8AC3E}">
        <p14:creationId xmlns:p14="http://schemas.microsoft.com/office/powerpoint/2010/main" val="41915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Easily make your bots better</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6378" y="1932454"/>
            <a:ext cx="4407941" cy="418037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asily see what’s working – and what to improv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Analyze bot / customer conversations to better understand how specific topics are performing, what’s impacting your CSAT, and identify where there is room for improvemen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Quickly figure out what to build nex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see which conversations are going to human agents and determine which topics to teach your bot next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8BB0A228-C7EC-4A3D-B31C-FCCFA787E534}"/>
              </a:ext>
            </a:extLst>
          </p:cNvPr>
          <p:cNvPicPr>
            <a:picLocks noChangeAspect="1"/>
          </p:cNvPicPr>
          <p:nvPr/>
        </p:nvPicPr>
        <p:blipFill>
          <a:blip r:embed="rId3"/>
          <a:stretch>
            <a:fillRect/>
          </a:stretch>
        </p:blipFill>
        <p:spPr>
          <a:xfrm>
            <a:off x="5155061" y="1994354"/>
            <a:ext cx="6889089" cy="3876261"/>
          </a:xfrm>
          <a:prstGeom prst="rect">
            <a:avLst/>
          </a:prstGeom>
        </p:spPr>
      </p:pic>
    </p:spTree>
    <p:extLst>
      <p:ext uri="{BB962C8B-B14F-4D97-AF65-F5344CB8AC3E}">
        <p14:creationId xmlns:p14="http://schemas.microsoft.com/office/powerpoint/2010/main" val="47945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Easily build powerful conversations</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5058113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p:nvPr>
        </p:nvSpPr>
        <p:spPr/>
        <p:txBody>
          <a:bodyPr/>
          <a:lstStyle/>
          <a:p>
            <a:r>
              <a:rPr lang="en-US" dirty="0"/>
              <a:t>Demo: Easily build </a:t>
            </a:r>
            <a:r>
              <a:rPr lang="en-US"/>
              <a:t>powerful conversations</a:t>
            </a:r>
            <a:endParaRPr lang="en-US" dirty="0"/>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10"/>
          </p:nvPr>
        </p:nvSpPr>
        <p:spPr>
          <a:xfrm>
            <a:off x="584200" y="1435100"/>
            <a:ext cx="11018838" cy="5302990"/>
          </a:xfrm>
        </p:spPr>
        <p:txBody>
          <a:bodyPr vert="horz" wrap="square" lIns="0" tIns="0" rIns="0" bIns="0" rtlCol="0" anchor="t">
            <a:spAutoFit/>
          </a:bodyPr>
          <a:lstStyle/>
          <a:p>
            <a:r>
              <a:rPr lang="en-US" sz="2750" dirty="0">
                <a:ea typeface="+mn-lt"/>
                <a:cs typeface="+mn-lt"/>
              </a:rPr>
              <a:t>Learning 1: </a:t>
            </a:r>
          </a:p>
          <a:p>
            <a:pPr marL="738188" indent="0">
              <a:buNone/>
            </a:pPr>
            <a:r>
              <a:rPr lang="en-US" sz="2750" dirty="0">
                <a:ea typeface="+mn-lt"/>
                <a:cs typeface="+mn-lt"/>
              </a:rPr>
              <a:t>Easy to create, build, test and deploy a virtual agent. You can focus on content.</a:t>
            </a:r>
          </a:p>
          <a:p>
            <a:endParaRPr lang="en-US" sz="1200" dirty="0"/>
          </a:p>
          <a:p>
            <a:r>
              <a:rPr lang="en-US" sz="2750" dirty="0">
                <a:ea typeface="+mn-lt"/>
                <a:cs typeface="+mn-lt"/>
              </a:rPr>
              <a:t>Learning 2</a:t>
            </a:r>
          </a:p>
          <a:p>
            <a:pPr marL="738188" indent="0">
              <a:buNone/>
            </a:pPr>
            <a:r>
              <a:rPr lang="en-US" sz="2750" dirty="0">
                <a:ea typeface="+mn-lt"/>
                <a:cs typeface="+mn-lt"/>
              </a:rPr>
              <a:t>Advanced AI capabilities help the chatbot become smarter and create a great customer experience.</a:t>
            </a:r>
          </a:p>
          <a:p>
            <a:endParaRPr lang="en-US" sz="1200" dirty="0">
              <a:ea typeface="+mn-lt"/>
              <a:cs typeface="+mn-lt"/>
            </a:endParaRPr>
          </a:p>
          <a:p>
            <a:r>
              <a:rPr lang="en-US" sz="2750" dirty="0">
                <a:ea typeface="+mn-lt"/>
                <a:cs typeface="+mn-lt"/>
              </a:rPr>
              <a:t>Learning 3: </a:t>
            </a:r>
          </a:p>
          <a:p>
            <a:pPr marL="738188" indent="0">
              <a:buNone/>
            </a:pPr>
            <a:r>
              <a:rPr lang="en-US" sz="2750" dirty="0">
                <a:ea typeface="+mn-lt"/>
                <a:cs typeface="+mn-lt"/>
              </a:rPr>
              <a:t>Extend your chatbot by leveraging Power Automate and 100s of pre-build connectors.</a:t>
            </a:r>
          </a:p>
          <a:p>
            <a:endParaRPr lang="en-US" dirty="0"/>
          </a:p>
        </p:txBody>
      </p:sp>
    </p:spTree>
    <p:extLst>
      <p:ext uri="{BB962C8B-B14F-4D97-AF65-F5344CB8AC3E}">
        <p14:creationId xmlns:p14="http://schemas.microsoft.com/office/powerpoint/2010/main" val="17211509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2044041675"/>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8668196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Create personalized customer experiences</a:t>
            </a:r>
          </a:p>
        </p:txBody>
      </p:sp>
      <p:sp>
        <p:nvSpPr>
          <p:cNvPr id="5" name="Text Placeholder 1">
            <a:extLst>
              <a:ext uri="{FF2B5EF4-FFF2-40B4-BE49-F238E27FC236}">
                <a16:creationId xmlns:a16="http://schemas.microsoft.com/office/drawing/2014/main" id="{7E85805A-F51F-4E5C-8441-21CEBA2CD324}"/>
              </a:ext>
            </a:extLst>
          </p:cNvPr>
          <p:cNvSpPr txBox="1">
            <a:spLocks/>
          </p:cNvSpPr>
          <p:nvPr/>
        </p:nvSpPr>
        <p:spPr>
          <a:xfrm>
            <a:off x="455995" y="1482078"/>
            <a:ext cx="4397506" cy="394864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Extend bot conversational capabilities with Power Automat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nable your bot to act on behalf of your customer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a:rPr>
              <a:t>Enable actions/access data from back-end system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cognize your customer</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panose="020B0502040204020203" pitchFamily="34" charset="0"/>
              </a:rPr>
              <a:t>Allow the bot to access the user’s information and take action on their behalf</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computer&#10;&#10;Description automatically generated">
            <a:extLst>
              <a:ext uri="{FF2B5EF4-FFF2-40B4-BE49-F238E27FC236}">
                <a16:creationId xmlns:a16="http://schemas.microsoft.com/office/drawing/2014/main" id="{FD294F38-FBBF-43C2-9EB4-C8AA5F5E1F70}"/>
              </a:ext>
            </a:extLst>
          </p:cNvPr>
          <p:cNvPicPr>
            <a:picLocks noChangeAspect="1"/>
          </p:cNvPicPr>
          <p:nvPr/>
        </p:nvPicPr>
        <p:blipFill>
          <a:blip r:embed="rId3"/>
          <a:stretch>
            <a:fillRect/>
          </a:stretch>
        </p:blipFill>
        <p:spPr>
          <a:xfrm>
            <a:off x="5113809" y="1482078"/>
            <a:ext cx="7078192" cy="3981483"/>
          </a:xfrm>
          <a:prstGeom prst="rect">
            <a:avLst/>
          </a:prstGeom>
        </p:spPr>
      </p:pic>
    </p:spTree>
    <p:extLst>
      <p:ext uri="{BB962C8B-B14F-4D97-AF65-F5344CB8AC3E}">
        <p14:creationId xmlns:p14="http://schemas.microsoft.com/office/powerpoint/2010/main" val="70660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Transfer to a human agent</a:t>
            </a:r>
          </a:p>
        </p:txBody>
      </p:sp>
      <p:sp>
        <p:nvSpPr>
          <p:cNvPr id="5" name="Text Placeholder 1">
            <a:extLst>
              <a:ext uri="{FF2B5EF4-FFF2-40B4-BE49-F238E27FC236}">
                <a16:creationId xmlns:a16="http://schemas.microsoft.com/office/drawing/2014/main" id="{F2422CF2-8B82-4339-A641-B1455FE074C9}"/>
              </a:ext>
            </a:extLst>
          </p:cNvPr>
          <p:cNvSpPr txBox="1">
            <a:spLocks/>
          </p:cNvSpPr>
          <p:nvPr/>
        </p:nvSpPr>
        <p:spPr>
          <a:xfrm>
            <a:off x="455995" y="1482078"/>
            <a:ext cx="4147521" cy="429399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Configure and connect a bot to a human.</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Dynamics 365 Omnichannel for Customer Service</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Benefit from native integration to enable a hand-off from bot to live chat</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generic live-chat provider</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xtend hand-off capability to other providers</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B03A4432-8F17-42AD-9C69-89743D4BCEB0}"/>
              </a:ext>
            </a:extLst>
          </p:cNvPr>
          <p:cNvPicPr>
            <a:picLocks noChangeAspect="1"/>
          </p:cNvPicPr>
          <p:nvPr/>
        </p:nvPicPr>
        <p:blipFill>
          <a:blip r:embed="rId3"/>
          <a:stretch>
            <a:fillRect/>
          </a:stretch>
        </p:blipFill>
        <p:spPr>
          <a:xfrm>
            <a:off x="4980111" y="1482078"/>
            <a:ext cx="6950237" cy="3910667"/>
          </a:xfrm>
          <a:prstGeom prst="rect">
            <a:avLst/>
          </a:prstGeom>
        </p:spPr>
      </p:pic>
    </p:spTree>
    <p:extLst>
      <p:ext uri="{BB962C8B-B14F-4D97-AF65-F5344CB8AC3E}">
        <p14:creationId xmlns:p14="http://schemas.microsoft.com/office/powerpoint/2010/main" val="115147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20313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Personalize your customer experience</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150773071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p:nvPr>
        </p:nvSpPr>
        <p:spPr/>
        <p:txBody>
          <a:bodyPr/>
          <a:lstStyle/>
          <a:p>
            <a:r>
              <a:rPr lang="en-US"/>
              <a:t>Demo: Personalize your customer experience</a:t>
            </a:r>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10"/>
          </p:nvPr>
        </p:nvSpPr>
        <p:spPr>
          <a:xfrm>
            <a:off x="584200" y="1435100"/>
            <a:ext cx="11018838" cy="3827202"/>
          </a:xfrm>
        </p:spPr>
        <p:txBody>
          <a:bodyPr vert="horz" wrap="square" lIns="0" tIns="0" rIns="0" bIns="0" rtlCol="0" anchor="t">
            <a:spAutoFit/>
          </a:bodyPr>
          <a:lstStyle/>
          <a:p>
            <a:r>
              <a:rPr lang="en-US" sz="2750" dirty="0">
                <a:ea typeface="+mn-lt"/>
                <a:cs typeface="+mn-lt"/>
              </a:rPr>
              <a:t>Learning 1: Extend your virtual agent with extended Power Automate capabilities</a:t>
            </a:r>
          </a:p>
          <a:p>
            <a:endParaRPr lang="en-US" dirty="0"/>
          </a:p>
          <a:p>
            <a:r>
              <a:rPr lang="en-US" sz="2750" dirty="0">
                <a:ea typeface="+mn-lt"/>
                <a:cs typeface="+mn-lt"/>
              </a:rPr>
              <a:t>Learning 2: Personalize your customer experience with feature such as customer authentication</a:t>
            </a:r>
          </a:p>
          <a:p>
            <a:endParaRPr lang="en-US" sz="2750" dirty="0">
              <a:ea typeface="+mn-lt"/>
              <a:cs typeface="+mn-lt"/>
            </a:endParaRPr>
          </a:p>
          <a:p>
            <a:pPr marL="0" indent="0">
              <a:buNone/>
            </a:pPr>
            <a:endParaRPr lang="en-US" sz="2750" dirty="0">
              <a:ea typeface="+mn-lt"/>
              <a:cs typeface="+mn-lt"/>
            </a:endParaRPr>
          </a:p>
          <a:p>
            <a:endParaRPr lang="en-US" dirty="0"/>
          </a:p>
        </p:txBody>
      </p:sp>
    </p:spTree>
    <p:extLst>
      <p:ext uri="{BB962C8B-B14F-4D97-AF65-F5344CB8AC3E}">
        <p14:creationId xmlns:p14="http://schemas.microsoft.com/office/powerpoint/2010/main" val="10470059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D0ED3-5BCB-4072-B255-B6CAD564E665}"/>
              </a:ext>
            </a:extLst>
          </p:cNvPr>
          <p:cNvSpPr>
            <a:spLocks noGrp="1"/>
          </p:cNvSpPr>
          <p:nvPr>
            <p:ph type="title"/>
          </p:nvPr>
        </p:nvSpPr>
        <p:spPr>
          <a:xfrm>
            <a:off x="588263" y="457200"/>
            <a:ext cx="11018520" cy="553998"/>
          </a:xfrm>
        </p:spPr>
        <p:txBody>
          <a:bodyPr/>
          <a:lstStyle/>
          <a:p>
            <a:r>
              <a:rPr lang="en-US" dirty="0"/>
              <a:t>Built on Power Platform &amp; Azure Bot Service</a:t>
            </a:r>
          </a:p>
        </p:txBody>
      </p:sp>
      <p:grpSp>
        <p:nvGrpSpPr>
          <p:cNvPr id="20" name="Group 19">
            <a:extLst>
              <a:ext uri="{FF2B5EF4-FFF2-40B4-BE49-F238E27FC236}">
                <a16:creationId xmlns:a16="http://schemas.microsoft.com/office/drawing/2014/main" id="{166B6795-7A45-4E16-8F61-C30182B5FA89}"/>
              </a:ext>
            </a:extLst>
          </p:cNvPr>
          <p:cNvGrpSpPr/>
          <p:nvPr/>
        </p:nvGrpSpPr>
        <p:grpSpPr>
          <a:xfrm>
            <a:off x="13716847" y="1441610"/>
            <a:ext cx="6299230" cy="3449713"/>
            <a:chOff x="578195" y="1240980"/>
            <a:chExt cx="6299230" cy="3449713"/>
          </a:xfrm>
          <a:solidFill>
            <a:srgbClr val="0B556A"/>
          </a:solidFill>
        </p:grpSpPr>
        <p:sp>
          <p:nvSpPr>
            <p:cNvPr id="21" name="TextBox 20">
              <a:extLst>
                <a:ext uri="{FF2B5EF4-FFF2-40B4-BE49-F238E27FC236}">
                  <a16:creationId xmlns:a16="http://schemas.microsoft.com/office/drawing/2014/main" id="{418941D6-3A5C-4845-BB5F-F23EC31B060E}"/>
                </a:ext>
              </a:extLst>
            </p:cNvPr>
            <p:cNvSpPr txBox="1"/>
            <p:nvPr/>
          </p:nvSpPr>
          <p:spPr>
            <a:xfrm>
              <a:off x="4316308" y="4161383"/>
              <a:ext cx="2477105"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Accent:</a:t>
              </a:r>
              <a:r>
                <a:rPr lang="en-US" sz="1400">
                  <a:latin typeface="Segoe UI" panose="020B0502040204020203" pitchFamily="34" charset="0"/>
                  <a:cs typeface="Segoe UI" panose="020B0502040204020203" pitchFamily="34" charset="0"/>
                </a:rPr>
                <a:t> Icon, Sparingly used</a:t>
              </a:r>
              <a:endParaRPr lang="en-US" sz="1400" b="1">
                <a:latin typeface="Segoe UI" panose="020B0502040204020203" pitchFamily="34" charset="0"/>
                <a:cs typeface="Segoe UI" panose="020B0502040204020203" pitchFamily="34" charset="0"/>
              </a:endParaRPr>
            </a:p>
          </p:txBody>
        </p:sp>
        <p:sp>
          <p:nvSpPr>
            <p:cNvPr id="22" name="TextBox 21">
              <a:extLst>
                <a:ext uri="{FF2B5EF4-FFF2-40B4-BE49-F238E27FC236}">
                  <a16:creationId xmlns:a16="http://schemas.microsoft.com/office/drawing/2014/main" id="{6BCD98AF-7476-494E-A1D3-DA246E8AEB10}"/>
                </a:ext>
              </a:extLst>
            </p:cNvPr>
            <p:cNvSpPr txBox="1"/>
            <p:nvPr/>
          </p:nvSpPr>
          <p:spPr>
            <a:xfrm>
              <a:off x="4316309" y="3486665"/>
              <a:ext cx="2561116"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Accent: </a:t>
              </a:r>
              <a:r>
                <a:rPr lang="en-US" sz="1400">
                  <a:latin typeface="Segoe UI" panose="020B0502040204020203" pitchFamily="34" charset="0"/>
                  <a:cs typeface="Segoe UI" panose="020B0502040204020203" pitchFamily="34" charset="0"/>
                </a:rPr>
                <a:t>Icon</a:t>
              </a:r>
              <a:r>
                <a:rPr lang="en-US" sz="1400" b="1">
                  <a:latin typeface="Segoe UI" panose="020B0502040204020203" pitchFamily="34" charset="0"/>
                  <a:cs typeface="Segoe UI" panose="020B0502040204020203" pitchFamily="34" charset="0"/>
                </a:rPr>
                <a:t>, </a:t>
              </a:r>
              <a:r>
                <a:rPr lang="en-US" sz="1400">
                  <a:latin typeface="Segoe UI" panose="020B0502040204020203" pitchFamily="34" charset="0"/>
                  <a:cs typeface="Segoe UI" panose="020B0502040204020203" pitchFamily="34" charset="0"/>
                </a:rPr>
                <a:t>Sparingly used</a:t>
              </a:r>
              <a:endParaRPr lang="en-US" sz="1400" b="1">
                <a:latin typeface="Segoe UI" panose="020B0502040204020203" pitchFamily="34" charset="0"/>
                <a:cs typeface="Segoe UI" panose="020B0502040204020203" pitchFamily="34" charset="0"/>
              </a:endParaRPr>
            </a:p>
          </p:txBody>
        </p:sp>
        <p:sp>
          <p:nvSpPr>
            <p:cNvPr id="23" name="TextBox 22">
              <a:extLst>
                <a:ext uri="{FF2B5EF4-FFF2-40B4-BE49-F238E27FC236}">
                  <a16:creationId xmlns:a16="http://schemas.microsoft.com/office/drawing/2014/main" id="{B5762C5D-6063-4D20-9686-B16FC7FE0135}"/>
                </a:ext>
              </a:extLst>
            </p:cNvPr>
            <p:cNvSpPr txBox="1"/>
            <p:nvPr/>
          </p:nvSpPr>
          <p:spPr>
            <a:xfrm>
              <a:off x="4316307" y="1462511"/>
              <a:ext cx="2561116"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Primary: </a:t>
              </a:r>
              <a:r>
                <a:rPr lang="en-US" sz="1400">
                  <a:latin typeface="Segoe UI" panose="020B0502040204020203" pitchFamily="34" charset="0"/>
                  <a:cs typeface="Segoe UI" panose="020B0502040204020203" pitchFamily="34" charset="0"/>
                </a:rPr>
                <a:t>Header, button links</a:t>
              </a:r>
            </a:p>
          </p:txBody>
        </p:sp>
        <p:sp>
          <p:nvSpPr>
            <p:cNvPr id="24" name="TextBox 23">
              <a:extLst>
                <a:ext uri="{FF2B5EF4-FFF2-40B4-BE49-F238E27FC236}">
                  <a16:creationId xmlns:a16="http://schemas.microsoft.com/office/drawing/2014/main" id="{FD6207B4-3282-4CB6-BCCF-D426DD9C2F3D}"/>
                </a:ext>
              </a:extLst>
            </p:cNvPr>
            <p:cNvSpPr txBox="1"/>
            <p:nvPr/>
          </p:nvSpPr>
          <p:spPr>
            <a:xfrm>
              <a:off x="4316307" y="2137229"/>
              <a:ext cx="2317675"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Secondary</a:t>
              </a:r>
              <a:r>
                <a:rPr lang="en-US" sz="1400">
                  <a:latin typeface="Segoe UI" panose="020B0502040204020203" pitchFamily="34" charset="0"/>
                  <a:cs typeface="Segoe UI" panose="020B0502040204020203" pitchFamily="34" charset="0"/>
                </a:rPr>
                <a:t>: Text hyperlinks</a:t>
              </a:r>
            </a:p>
          </p:txBody>
        </p:sp>
        <p:sp>
          <p:nvSpPr>
            <p:cNvPr id="25" name="TextBox 24">
              <a:extLst>
                <a:ext uri="{FF2B5EF4-FFF2-40B4-BE49-F238E27FC236}">
                  <a16:creationId xmlns:a16="http://schemas.microsoft.com/office/drawing/2014/main" id="{7CB426F9-1B91-408E-9842-6718ADB99A85}"/>
                </a:ext>
              </a:extLst>
            </p:cNvPr>
            <p:cNvSpPr txBox="1"/>
            <p:nvPr/>
          </p:nvSpPr>
          <p:spPr>
            <a:xfrm>
              <a:off x="4316308" y="2811947"/>
              <a:ext cx="2317675"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Tertiary</a:t>
              </a:r>
              <a:r>
                <a:rPr lang="en-US" sz="1400">
                  <a:latin typeface="Segoe UI" panose="020B0502040204020203" pitchFamily="34" charset="0"/>
                  <a:cs typeface="Segoe UI" panose="020B0502040204020203" pitchFamily="34" charset="0"/>
                </a:rPr>
                <a:t>: Icon, UI details</a:t>
              </a:r>
            </a:p>
          </p:txBody>
        </p:sp>
        <p:pic>
          <p:nvPicPr>
            <p:cNvPr id="26" name="Picture 25" descr="A screenshot of a cell phone&#10;&#10;Description automatically generated">
              <a:extLst>
                <a:ext uri="{FF2B5EF4-FFF2-40B4-BE49-F238E27FC236}">
                  <a16:creationId xmlns:a16="http://schemas.microsoft.com/office/drawing/2014/main" id="{C2BF7DA5-D77A-41B0-870E-02812EC3CEAB}"/>
                </a:ext>
              </a:extLst>
            </p:cNvPr>
            <p:cNvPicPr>
              <a:picLocks noChangeAspect="1"/>
            </p:cNvPicPr>
            <p:nvPr/>
          </p:nvPicPr>
          <p:blipFill>
            <a:blip r:embed="rId3"/>
            <a:stretch>
              <a:fillRect/>
            </a:stretch>
          </p:blipFill>
          <p:spPr>
            <a:xfrm>
              <a:off x="578195" y="1240980"/>
              <a:ext cx="3460135" cy="3449713"/>
            </a:xfrm>
            <a:prstGeom prst="rect">
              <a:avLst/>
            </a:prstGeom>
            <a:grpFill/>
          </p:spPr>
        </p:pic>
      </p:grpSp>
      <p:graphicFrame>
        <p:nvGraphicFramePr>
          <p:cNvPr id="3" name="Diagram 2">
            <a:extLst>
              <a:ext uri="{FF2B5EF4-FFF2-40B4-BE49-F238E27FC236}">
                <a16:creationId xmlns:a16="http://schemas.microsoft.com/office/drawing/2014/main" id="{486A3C97-F2E3-4408-94D6-C6050D3542B8}"/>
              </a:ext>
            </a:extLst>
          </p:cNvPr>
          <p:cNvGraphicFramePr/>
          <p:nvPr/>
        </p:nvGraphicFramePr>
        <p:xfrm>
          <a:off x="196765" y="1207205"/>
          <a:ext cx="672265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9" name="Picture 28" descr="A picture containing drawing&#10;&#10;Description automatically generated">
            <a:extLst>
              <a:ext uri="{FF2B5EF4-FFF2-40B4-BE49-F238E27FC236}">
                <a16:creationId xmlns:a16="http://schemas.microsoft.com/office/drawing/2014/main" id="{EA6B2DB2-D9BA-42A0-9EC3-D136A2C0627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342886" y="1663141"/>
            <a:ext cx="389777" cy="389777"/>
          </a:xfrm>
          <a:prstGeom prst="rect">
            <a:avLst/>
          </a:prstGeom>
          <a:effectLst>
            <a:glow rad="139700">
              <a:schemeClr val="accent4">
                <a:satMod val="175000"/>
                <a:alpha val="40000"/>
              </a:schemeClr>
            </a:glow>
          </a:effectLst>
        </p:spPr>
      </p:pic>
      <p:grpSp>
        <p:nvGrpSpPr>
          <p:cNvPr id="30" name="Group 29">
            <a:extLst>
              <a:ext uri="{FF2B5EF4-FFF2-40B4-BE49-F238E27FC236}">
                <a16:creationId xmlns:a16="http://schemas.microsoft.com/office/drawing/2014/main" id="{EE5657F6-D781-4854-99ED-6882DD3E8E3C}"/>
              </a:ext>
            </a:extLst>
          </p:cNvPr>
          <p:cNvGrpSpPr>
            <a:grpSpLocks noChangeAspect="1"/>
          </p:cNvGrpSpPr>
          <p:nvPr/>
        </p:nvGrpSpPr>
        <p:grpSpPr>
          <a:xfrm>
            <a:off x="2682105" y="2671713"/>
            <a:ext cx="365760" cy="365760"/>
            <a:chOff x="5216175" y="2901971"/>
            <a:chExt cx="1715723" cy="1715723"/>
          </a:xfrm>
          <a:effectLst/>
        </p:grpSpPr>
        <p:sp>
          <p:nvSpPr>
            <p:cNvPr id="31" name="Oval 30">
              <a:extLst>
                <a:ext uri="{FF2B5EF4-FFF2-40B4-BE49-F238E27FC236}">
                  <a16:creationId xmlns:a16="http://schemas.microsoft.com/office/drawing/2014/main" id="{03C80EDA-9127-4B70-92EA-85CA7B180F4F}"/>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4">
              <a:extLst>
                <a:ext uri="{FF2B5EF4-FFF2-40B4-BE49-F238E27FC236}">
                  <a16:creationId xmlns:a16="http://schemas.microsoft.com/office/drawing/2014/main" id="{045F51ED-4912-4F09-87A3-D5FC148A1613}"/>
                </a:ext>
              </a:extLst>
            </p:cNvPr>
            <p:cNvGrpSpPr>
              <a:grpSpLocks noChangeAspect="1"/>
            </p:cNvGrpSpPr>
            <p:nvPr/>
          </p:nvGrpSpPr>
          <p:grpSpPr bwMode="auto">
            <a:xfrm>
              <a:off x="5681957" y="3458106"/>
              <a:ext cx="784088" cy="603380"/>
              <a:chOff x="2880" y="2176"/>
              <a:chExt cx="256" cy="197"/>
            </a:xfrm>
            <a:solidFill>
              <a:srgbClr val="D2D2D2"/>
            </a:solidFill>
          </p:grpSpPr>
          <p:sp>
            <p:nvSpPr>
              <p:cNvPr id="33" name="Freeform 5">
                <a:extLst>
                  <a:ext uri="{FF2B5EF4-FFF2-40B4-BE49-F238E27FC236}">
                    <a16:creationId xmlns:a16="http://schemas.microsoft.com/office/drawing/2014/main" id="{0E643F2C-252C-4D22-B07E-BF560884B02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4" name="Freeform 6">
                <a:extLst>
                  <a:ext uri="{FF2B5EF4-FFF2-40B4-BE49-F238E27FC236}">
                    <a16:creationId xmlns:a16="http://schemas.microsoft.com/office/drawing/2014/main" id="{4E303006-19E5-4E7E-A7D2-82433A8DE451}"/>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 name="Freeform 7">
                <a:extLst>
                  <a:ext uri="{FF2B5EF4-FFF2-40B4-BE49-F238E27FC236}">
                    <a16:creationId xmlns:a16="http://schemas.microsoft.com/office/drawing/2014/main" id="{88CA8BA3-591C-4DFC-A3EB-52D289BB9545}"/>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 name="Freeform 8">
                <a:extLst>
                  <a:ext uri="{FF2B5EF4-FFF2-40B4-BE49-F238E27FC236}">
                    <a16:creationId xmlns:a16="http://schemas.microsoft.com/office/drawing/2014/main" id="{FB3BB96E-C79C-4143-AAAA-056680A384B1}"/>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 name="Freeform 9">
                <a:extLst>
                  <a:ext uri="{FF2B5EF4-FFF2-40B4-BE49-F238E27FC236}">
                    <a16:creationId xmlns:a16="http://schemas.microsoft.com/office/drawing/2014/main" id="{8EF86987-CC42-47A6-9359-7B0863BD5EF6}"/>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38" name="Group 37">
            <a:extLst>
              <a:ext uri="{FF2B5EF4-FFF2-40B4-BE49-F238E27FC236}">
                <a16:creationId xmlns:a16="http://schemas.microsoft.com/office/drawing/2014/main" id="{50FACE68-DF61-4D16-A79C-B60736E8D35B}"/>
              </a:ext>
            </a:extLst>
          </p:cNvPr>
          <p:cNvGrpSpPr/>
          <p:nvPr/>
        </p:nvGrpSpPr>
        <p:grpSpPr>
          <a:xfrm>
            <a:off x="4052910" y="2669207"/>
            <a:ext cx="365760" cy="365760"/>
            <a:chOff x="3652520" y="2333616"/>
            <a:chExt cx="1051560" cy="1051560"/>
          </a:xfrm>
          <a:effectLst/>
        </p:grpSpPr>
        <p:sp>
          <p:nvSpPr>
            <p:cNvPr id="39" name="Oval 38">
              <a:extLst>
                <a:ext uri="{FF2B5EF4-FFF2-40B4-BE49-F238E27FC236}">
                  <a16:creationId xmlns:a16="http://schemas.microsoft.com/office/drawing/2014/main" id="{FCD1AF3D-A324-46BC-A966-D214FE80276E}"/>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40" name="Group 12">
              <a:extLst>
                <a:ext uri="{FF2B5EF4-FFF2-40B4-BE49-F238E27FC236}">
                  <a16:creationId xmlns:a16="http://schemas.microsoft.com/office/drawing/2014/main" id="{E3E5FE87-4E94-4824-8024-7F081CB8F19B}"/>
                </a:ext>
              </a:extLst>
            </p:cNvPr>
            <p:cNvGrpSpPr>
              <a:grpSpLocks noChangeAspect="1"/>
            </p:cNvGrpSpPr>
            <p:nvPr/>
          </p:nvGrpSpPr>
          <p:grpSpPr bwMode="auto">
            <a:xfrm>
              <a:off x="3936139" y="2675429"/>
              <a:ext cx="484321" cy="367935"/>
              <a:chOff x="4543" y="2176"/>
              <a:chExt cx="258" cy="196"/>
            </a:xfrm>
            <a:solidFill>
              <a:schemeClr val="bg1"/>
            </a:solidFill>
          </p:grpSpPr>
          <p:sp>
            <p:nvSpPr>
              <p:cNvPr id="42" name="Freeform 13">
                <a:extLst>
                  <a:ext uri="{FF2B5EF4-FFF2-40B4-BE49-F238E27FC236}">
                    <a16:creationId xmlns:a16="http://schemas.microsoft.com/office/drawing/2014/main" id="{035585EC-8B09-4917-9425-1BD149FB2173}"/>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3" name="Freeform 14">
                <a:extLst>
                  <a:ext uri="{FF2B5EF4-FFF2-40B4-BE49-F238E27FC236}">
                    <a16:creationId xmlns:a16="http://schemas.microsoft.com/office/drawing/2014/main" id="{ADC12967-DF72-42ED-B581-8C53950FB70E}"/>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4" name="Freeform 15">
                <a:extLst>
                  <a:ext uri="{FF2B5EF4-FFF2-40B4-BE49-F238E27FC236}">
                    <a16:creationId xmlns:a16="http://schemas.microsoft.com/office/drawing/2014/main" id="{4A35B24D-97D3-4524-B2A4-97325BCCCFC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5" name="Freeform 16">
                <a:extLst>
                  <a:ext uri="{FF2B5EF4-FFF2-40B4-BE49-F238E27FC236}">
                    <a16:creationId xmlns:a16="http://schemas.microsoft.com/office/drawing/2014/main" id="{9C1E9857-EDC3-4F20-ADB9-2461C82BCEF1}"/>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6" name="Freeform 17">
                <a:extLst>
                  <a:ext uri="{FF2B5EF4-FFF2-40B4-BE49-F238E27FC236}">
                    <a16:creationId xmlns:a16="http://schemas.microsoft.com/office/drawing/2014/main" id="{6CEDECF3-2556-44DF-9347-0885BC20BC50}"/>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grpSp>
      <p:grpSp>
        <p:nvGrpSpPr>
          <p:cNvPr id="48" name="Group 47">
            <a:extLst>
              <a:ext uri="{FF2B5EF4-FFF2-40B4-BE49-F238E27FC236}">
                <a16:creationId xmlns:a16="http://schemas.microsoft.com/office/drawing/2014/main" id="{79FF103C-99E0-465A-94CC-0676A55EDBC5}"/>
              </a:ext>
            </a:extLst>
          </p:cNvPr>
          <p:cNvGrpSpPr/>
          <p:nvPr/>
        </p:nvGrpSpPr>
        <p:grpSpPr>
          <a:xfrm>
            <a:off x="3369734" y="2669207"/>
            <a:ext cx="365760" cy="365760"/>
            <a:chOff x="4726930" y="4471472"/>
            <a:chExt cx="703088" cy="703088"/>
          </a:xfrm>
          <a:effectLst>
            <a:outerShdw blurRad="177800" dist="177800" dir="5400000" algn="t" rotWithShape="0">
              <a:prstClr val="black">
                <a:alpha val="10000"/>
              </a:prstClr>
            </a:outerShdw>
          </a:effectLst>
        </p:grpSpPr>
        <p:sp>
          <p:nvSpPr>
            <p:cNvPr id="50" name="Oval 49">
              <a:extLst>
                <a:ext uri="{FF2B5EF4-FFF2-40B4-BE49-F238E27FC236}">
                  <a16:creationId xmlns:a16="http://schemas.microsoft.com/office/drawing/2014/main" id="{1E90BBE2-D331-45D6-A27D-630FFC7FD2E3}"/>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51" name="Group 50">
              <a:extLst>
                <a:ext uri="{FF2B5EF4-FFF2-40B4-BE49-F238E27FC236}">
                  <a16:creationId xmlns:a16="http://schemas.microsoft.com/office/drawing/2014/main" id="{1C04D096-C3BA-4BA1-93FB-FEEB77049F86}"/>
                </a:ext>
              </a:extLst>
            </p:cNvPr>
            <p:cNvGrpSpPr/>
            <p:nvPr/>
          </p:nvGrpSpPr>
          <p:grpSpPr>
            <a:xfrm>
              <a:off x="4902990" y="4689695"/>
              <a:ext cx="350968" cy="266644"/>
              <a:chOff x="-1146792" y="678443"/>
              <a:chExt cx="1017587" cy="773113"/>
            </a:xfrm>
            <a:solidFill>
              <a:srgbClr val="D2D2D2"/>
            </a:solidFill>
          </p:grpSpPr>
          <p:sp>
            <p:nvSpPr>
              <p:cNvPr id="52" name="Freeform 5">
                <a:extLst>
                  <a:ext uri="{FF2B5EF4-FFF2-40B4-BE49-F238E27FC236}">
                    <a16:creationId xmlns:a16="http://schemas.microsoft.com/office/drawing/2014/main" id="{0E7E74A9-6791-4758-BB01-57D0371D69AC}"/>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6">
                <a:extLst>
                  <a:ext uri="{FF2B5EF4-FFF2-40B4-BE49-F238E27FC236}">
                    <a16:creationId xmlns:a16="http://schemas.microsoft.com/office/drawing/2014/main" id="{96A48771-43C6-44EB-9887-515E4E1F3258}"/>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pic>
        <p:nvPicPr>
          <p:cNvPr id="9" name="Picture 8" descr="A picture containing group, food&#10;&#10;Description automatically generated">
            <a:extLst>
              <a:ext uri="{FF2B5EF4-FFF2-40B4-BE49-F238E27FC236}">
                <a16:creationId xmlns:a16="http://schemas.microsoft.com/office/drawing/2014/main" id="{CC43C590-6332-4842-9514-46B7227C7D10}"/>
              </a:ext>
            </a:extLst>
          </p:cNvPr>
          <p:cNvPicPr>
            <a:picLocks noChangeAspect="1"/>
          </p:cNvPicPr>
          <p:nvPr/>
        </p:nvPicPr>
        <p:blipFill>
          <a:blip r:embed="rId10"/>
          <a:stretch>
            <a:fillRect/>
          </a:stretch>
        </p:blipFill>
        <p:spPr>
          <a:xfrm>
            <a:off x="7815739" y="1001160"/>
            <a:ext cx="3849517" cy="4091842"/>
          </a:xfrm>
          <a:prstGeom prst="rect">
            <a:avLst/>
          </a:prstGeom>
        </p:spPr>
      </p:pic>
      <p:cxnSp>
        <p:nvCxnSpPr>
          <p:cNvPr id="11" name="Connector: Elbow 10">
            <a:extLst>
              <a:ext uri="{FF2B5EF4-FFF2-40B4-BE49-F238E27FC236}">
                <a16:creationId xmlns:a16="http://schemas.microsoft.com/office/drawing/2014/main" id="{5FBA2004-CD23-4AA3-B6C4-CC5059FA6A06}"/>
              </a:ext>
            </a:extLst>
          </p:cNvPr>
          <p:cNvCxnSpPr>
            <a:cxnSpLocks/>
          </p:cNvCxnSpPr>
          <p:nvPr/>
        </p:nvCxnSpPr>
        <p:spPr>
          <a:xfrm flipV="1">
            <a:off x="4865427" y="2197289"/>
            <a:ext cx="2654489" cy="876245"/>
          </a:xfrm>
          <a:prstGeom prst="bentConnector3">
            <a:avLst>
              <a:gd name="adj1" fmla="val 7093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B9EF9C37-D757-4AAE-A8C0-DED25911D323}"/>
              </a:ext>
            </a:extLst>
          </p:cNvPr>
          <p:cNvCxnSpPr>
            <a:cxnSpLocks/>
          </p:cNvCxnSpPr>
          <p:nvPr/>
        </p:nvCxnSpPr>
        <p:spPr>
          <a:xfrm>
            <a:off x="5667743" y="4548257"/>
            <a:ext cx="1785214" cy="1230990"/>
          </a:xfrm>
          <a:prstGeom prst="bentConnector3">
            <a:avLst>
              <a:gd name="adj1" fmla="val 60043"/>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15B8ECFC-18BB-44B5-8223-9D400AC21C1C}"/>
              </a:ext>
            </a:extLst>
          </p:cNvPr>
          <p:cNvCxnSpPr>
            <a:cxnSpLocks/>
          </p:cNvCxnSpPr>
          <p:nvPr/>
        </p:nvCxnSpPr>
        <p:spPr>
          <a:xfrm flipV="1">
            <a:off x="6919415" y="6096000"/>
            <a:ext cx="3903973" cy="529872"/>
          </a:xfrm>
          <a:prstGeom prst="bentConnector3">
            <a:avLst>
              <a:gd name="adj1" fmla="val 10051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5" name="Picture 54" descr="A picture containing device, clock&#10;&#10;Description automatically generated">
            <a:extLst>
              <a:ext uri="{FF2B5EF4-FFF2-40B4-BE49-F238E27FC236}">
                <a16:creationId xmlns:a16="http://schemas.microsoft.com/office/drawing/2014/main" id="{02D2F396-31F3-4802-99CE-AB02D750D8C8}"/>
              </a:ext>
            </a:extLst>
          </p:cNvPr>
          <p:cNvPicPr>
            <a:picLocks noChangeAspect="1"/>
          </p:cNvPicPr>
          <p:nvPr/>
        </p:nvPicPr>
        <p:blipFill>
          <a:blip r:embed="rId11"/>
          <a:stretch>
            <a:fillRect/>
          </a:stretch>
        </p:blipFill>
        <p:spPr>
          <a:xfrm>
            <a:off x="7596094" y="5375454"/>
            <a:ext cx="2019013" cy="1097838"/>
          </a:xfrm>
          <a:prstGeom prst="rect">
            <a:avLst/>
          </a:prstGeom>
        </p:spPr>
      </p:pic>
      <p:pic>
        <p:nvPicPr>
          <p:cNvPr id="60" name="Picture 59" descr="A close up of a map&#10;&#10;Description automatically generated">
            <a:extLst>
              <a:ext uri="{FF2B5EF4-FFF2-40B4-BE49-F238E27FC236}">
                <a16:creationId xmlns:a16="http://schemas.microsoft.com/office/drawing/2014/main" id="{D66942FD-2109-4BA3-9C5B-96253BB8771B}"/>
              </a:ext>
            </a:extLst>
          </p:cNvPr>
          <p:cNvPicPr>
            <a:picLocks noChangeAspect="1"/>
          </p:cNvPicPr>
          <p:nvPr/>
        </p:nvPicPr>
        <p:blipFill>
          <a:blip r:embed="rId12"/>
          <a:stretch>
            <a:fillRect/>
          </a:stretch>
        </p:blipFill>
        <p:spPr>
          <a:xfrm>
            <a:off x="9914850" y="5420751"/>
            <a:ext cx="1918573" cy="10764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812238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88263" y="457200"/>
            <a:ext cx="11018520" cy="553998"/>
          </a:xfrm>
        </p:spPr>
        <p:txBody>
          <a:bodyPr/>
          <a:lstStyle/>
          <a:p>
            <a:pPr lvl="0"/>
            <a:r>
              <a:rPr lang="en-US" dirty="0"/>
              <a:t>Extend your bot capabilities with Azure Bot Service</a:t>
            </a:r>
          </a:p>
        </p:txBody>
      </p:sp>
      <p:sp>
        <p:nvSpPr>
          <p:cNvPr id="5" name="Text Placeholder 1">
            <a:extLst>
              <a:ext uri="{FF2B5EF4-FFF2-40B4-BE49-F238E27FC236}">
                <a16:creationId xmlns:a16="http://schemas.microsoft.com/office/drawing/2014/main" id="{9E9B3B55-E2DB-4060-B9B6-CC43FAD2DDCD}"/>
              </a:ext>
            </a:extLst>
          </p:cNvPr>
          <p:cNvSpPr txBox="1">
            <a:spLocks/>
          </p:cNvSpPr>
          <p:nvPr/>
        </p:nvSpPr>
        <p:spPr>
          <a:xfrm>
            <a:off x="455995" y="1482079"/>
            <a:ext cx="4561308" cy="25817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r>
              <a:rPr lang="en-US" sz="1961" b="1" spc="0">
                <a:gradFill>
                  <a:gsLst>
                    <a:gs pos="83000">
                      <a:srgbClr val="008272"/>
                    </a:gs>
                    <a:gs pos="100000">
                      <a:srgbClr val="008272"/>
                    </a:gs>
                  </a:gsLst>
                  <a:lin ang="5400000" scaled="1"/>
                </a:gradFill>
                <a:latin typeface="Segoe UI"/>
              </a:rPr>
              <a:t>Microsoft Bot Framework Skills Support</a:t>
            </a:r>
          </a:p>
          <a:p>
            <a:pPr defTabSz="932186" fontAlgn="base">
              <a:spcAft>
                <a:spcPts val="588"/>
              </a:spcAft>
              <a:buSzTx/>
            </a:pPr>
            <a:r>
              <a:rPr lang="en-US" sz="1765" spc="0">
                <a:gradFill>
                  <a:gsLst>
                    <a:gs pos="83000">
                      <a:srgbClr val="3C3C41"/>
                    </a:gs>
                    <a:gs pos="100000">
                      <a:srgbClr val="3C3C41"/>
                    </a:gs>
                  </a:gsLst>
                  <a:lin ang="5400000" scaled="1"/>
                </a:gradFill>
                <a:latin typeface="Segoe UI"/>
                <a:cs typeface="Segoe UI" panose="020B0502040204020203" pitchFamily="34" charset="0"/>
              </a:rPr>
              <a:t>Skills are reusable conversational dialogs that can be used to author scenarios using complex capabilities. Bot authors can convert any existing bot into a Skill and seamlessly trigger actions embedded in it through our no-code designer.</a:t>
            </a:r>
          </a:p>
          <a:p>
            <a:pPr defTabSz="932186" fontAlgn="base">
              <a:spcAft>
                <a:spcPts val="588"/>
              </a:spcAft>
              <a:buSzTx/>
            </a:pPr>
            <a:endParaRPr lang="en-US" sz="1765" spc="0">
              <a:gradFill>
                <a:gsLst>
                  <a:gs pos="83000">
                    <a:srgbClr val="3C3C41"/>
                  </a:gs>
                  <a:gs pos="100000">
                    <a:srgbClr val="3C3C41"/>
                  </a:gs>
                </a:gsLst>
                <a:lin ang="5400000" scaled="1"/>
              </a:gradFill>
              <a:latin typeface="Segoe UI"/>
              <a:cs typeface="Segoe UI" panose="020B0502040204020203" pitchFamily="34" charset="0"/>
            </a:endParaRPr>
          </a:p>
        </p:txBody>
      </p:sp>
      <p:pic>
        <p:nvPicPr>
          <p:cNvPr id="3" name="Picture 2" descr="A screenshot of a social media post&#10;&#10;Description automatically generated">
            <a:extLst>
              <a:ext uri="{FF2B5EF4-FFF2-40B4-BE49-F238E27FC236}">
                <a16:creationId xmlns:a16="http://schemas.microsoft.com/office/drawing/2014/main" id="{3B77C22D-0D39-4039-8338-12023AF54D23}"/>
              </a:ext>
            </a:extLst>
          </p:cNvPr>
          <p:cNvPicPr>
            <a:picLocks noChangeAspect="1"/>
          </p:cNvPicPr>
          <p:nvPr/>
        </p:nvPicPr>
        <p:blipFill>
          <a:blip r:embed="rId3"/>
          <a:stretch>
            <a:fillRect/>
          </a:stretch>
        </p:blipFill>
        <p:spPr>
          <a:xfrm>
            <a:off x="5338834" y="1311675"/>
            <a:ext cx="6853167" cy="4007199"/>
          </a:xfrm>
          <a:prstGeom prst="rect">
            <a:avLst/>
          </a:prstGeom>
        </p:spPr>
      </p:pic>
      <p:sp>
        <p:nvSpPr>
          <p:cNvPr id="6" name="Rectangle 5">
            <a:extLst>
              <a:ext uri="{FF2B5EF4-FFF2-40B4-BE49-F238E27FC236}">
                <a16:creationId xmlns:a16="http://schemas.microsoft.com/office/drawing/2014/main" id="{EA2E8FEE-2D4F-42D9-9868-25D59013F30C}"/>
              </a:ext>
            </a:extLst>
          </p:cNvPr>
          <p:cNvSpPr/>
          <p:nvPr/>
        </p:nvSpPr>
        <p:spPr>
          <a:xfrm>
            <a:off x="4008151" y="1311675"/>
            <a:ext cx="706797" cy="369332"/>
          </a:xfrm>
          <a:prstGeom prst="rect">
            <a:avLst/>
          </a:prstGeom>
        </p:spPr>
        <p:txBody>
          <a:bodyPr wrap="none">
            <a:spAutoFit/>
          </a:bodyPr>
          <a:lstStyle/>
          <a:p>
            <a:r>
              <a:rPr lang="en-US" sz="1800" baseline="30000" dirty="0">
                <a:solidFill>
                  <a:srgbClr val="14848F"/>
                </a:solidFill>
              </a:rPr>
              <a:t>preview</a:t>
            </a:r>
            <a:endParaRPr lang="en-US" dirty="0">
              <a:solidFill>
                <a:srgbClr val="14848F"/>
              </a:solidFill>
            </a:endParaRPr>
          </a:p>
        </p:txBody>
      </p:sp>
    </p:spTree>
    <p:extLst>
      <p:ext uri="{BB962C8B-B14F-4D97-AF65-F5344CB8AC3E}">
        <p14:creationId xmlns:p14="http://schemas.microsoft.com/office/powerpoint/2010/main" val="185885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20313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Create and deploy a Power Virtual Agents bot</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11807160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3070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319314"/>
            <a:ext cx="11333080" cy="648293"/>
          </a:xfrm>
        </p:spPr>
        <p:txBody>
          <a:bodyPr/>
          <a:lstStyle/>
          <a:p>
            <a:r>
              <a:rPr lang="en-AU" sz="3600" spc="-50" dirty="0">
                <a:ln w="3175">
                  <a:noFill/>
                </a:ln>
                <a:solidFill>
                  <a:srgbClr val="1A1A1A"/>
                </a:solidFill>
                <a:latin typeface="Segoe UI Semibold"/>
                <a:ea typeface="+mn-ea"/>
                <a:cs typeface="Segoe UI" pitchFamily="34" charset="0"/>
              </a:rPr>
              <a:t>Continue…</a:t>
            </a:r>
          </a:p>
        </p:txBody>
      </p:sp>
      <p:graphicFrame>
        <p:nvGraphicFramePr>
          <p:cNvPr id="4" name="Content Placeholder 4">
            <a:extLst>
              <a:ext uri="{FF2B5EF4-FFF2-40B4-BE49-F238E27FC236}">
                <a16:creationId xmlns:a16="http://schemas.microsoft.com/office/drawing/2014/main" id="{EEB182BD-D835-4202-A18E-40CACBBA46BE}"/>
              </a:ext>
            </a:extLst>
          </p:cNvPr>
          <p:cNvGraphicFramePr>
            <a:graphicFrameLocks/>
          </p:cNvGraphicFramePr>
          <p:nvPr>
            <p:extLst>
              <p:ext uri="{D42A27DB-BD31-4B8C-83A1-F6EECF244321}">
                <p14:modId xmlns:p14="http://schemas.microsoft.com/office/powerpoint/2010/main" val="3541788747"/>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9635986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 3: Power Packed Day with Power Virtual Agents – Part I</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212723"/>
            <a:ext cx="5222543" cy="54620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Introduction</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A Robust Virtual Agent Platform</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onverse everywher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asily make your bots better</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reate personalized customer experiences</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Transfer to a human agent</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Built on Power Platform &amp; Azure Bot Servic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xtend your bot capabilities with Azure Bot Service</a:t>
            </a:r>
          </a:p>
          <a:p>
            <a:pPr marL="342900" lvl="0" indent="-342900" defTabSz="1955800">
              <a:spcBef>
                <a:spcPct val="0"/>
              </a:spcBef>
              <a:spcAft>
                <a:spcPct val="35000"/>
              </a:spcAft>
              <a:buFont typeface="Wingdings" panose="05000000000000000000" pitchFamily="2" charset="2"/>
              <a:buChar char="ü"/>
              <a:defRPr/>
            </a:pPr>
            <a:r>
              <a:rPr lang="en-IN" sz="2000" dirty="0">
                <a:solidFill>
                  <a:srgbClr val="2F2F2F"/>
                </a:solidFill>
              </a:rPr>
              <a:t>Demo</a:t>
            </a:r>
          </a:p>
          <a:p>
            <a:pPr marL="800100" lvl="1" indent="-342900" defTabSz="1955800">
              <a:spcBef>
                <a:spcPct val="0"/>
              </a:spcBef>
              <a:spcAft>
                <a:spcPct val="35000"/>
              </a:spcAft>
              <a:buFont typeface="Wingdings" panose="05000000000000000000" pitchFamily="2" charset="2"/>
              <a:buChar char="ü"/>
              <a:defRPr/>
            </a:pPr>
            <a:r>
              <a:rPr lang="en-US" sz="2000" dirty="0">
                <a:solidFill>
                  <a:srgbClr val="2F2F2F"/>
                </a:solidFill>
              </a:rPr>
              <a:t>Create and deploy a Power Virtual Agents bot</a:t>
            </a:r>
            <a:endParaRPr lang="en-IN" sz="2000" dirty="0">
              <a:solidFill>
                <a:srgbClr val="2F2F2F"/>
              </a:solidFill>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E342387-CD50-47A2-BE8F-AB953D27EC64}"/>
              </a:ext>
            </a:extLst>
          </p:cNvPr>
          <p:cNvSpPr>
            <a:spLocks noGrp="1"/>
          </p:cNvSpPr>
          <p:nvPr>
            <p:ph type="title" idx="4294967295"/>
          </p:nvPr>
        </p:nvSpPr>
        <p:spPr>
          <a:xfrm>
            <a:off x="0" y="2987675"/>
            <a:ext cx="12192000" cy="2400300"/>
          </a:xfrm>
        </p:spPr>
        <p:txBody>
          <a:bodyPr/>
          <a:lstStyle/>
          <a:p>
            <a:pPr algn="ctr"/>
            <a:r>
              <a:rPr lang="en-US" sz="3900" dirty="0">
                <a:cs typeface="Segoe UI"/>
              </a:rPr>
              <a:t>Empower your people to drive</a:t>
            </a:r>
            <a:br>
              <a:rPr lang="en-US" sz="3900" dirty="0"/>
            </a:br>
            <a:r>
              <a:rPr lang="en-US" sz="3900" dirty="0">
                <a:cs typeface="Segoe UI"/>
              </a:rPr>
              <a:t>more business valu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through easy to creat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natural, conversational AI</a:t>
            </a:r>
            <a:endParaRPr lang="en-US" dirty="0">
              <a:solidFill>
                <a:schemeClr val="tx1">
                  <a:lumMod val="50000"/>
                  <a:lumOff val="50000"/>
                </a:schemeClr>
              </a:solidFill>
            </a:endParaRPr>
          </a:p>
        </p:txBody>
      </p:sp>
      <p:sp>
        <p:nvSpPr>
          <p:cNvPr id="14" name="Rectangle 13" hidden="1">
            <a:extLst>
              <a:ext uri="{FF2B5EF4-FFF2-40B4-BE49-F238E27FC236}">
                <a16:creationId xmlns:a16="http://schemas.microsoft.com/office/drawing/2014/main" id="{68C3B068-7463-4761-8437-9300EF583EF1}"/>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92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Rectangle 3">
            <a:extLst>
              <a:ext uri="{FF2B5EF4-FFF2-40B4-BE49-F238E27FC236}">
                <a16:creationId xmlns:a16="http://schemas.microsoft.com/office/drawing/2014/main" id="{E17571BE-935C-B14E-872F-DBA86BE7EF26}"/>
              </a:ext>
            </a:extLst>
          </p:cNvPr>
          <p:cNvSpPr/>
          <p:nvPr/>
        </p:nvSpPr>
        <p:spPr bwMode="auto">
          <a:xfrm>
            <a:off x="5572021" y="2539430"/>
            <a:ext cx="979575" cy="108842"/>
          </a:xfrm>
          <a:prstGeom prst="rect">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2C883E8-9023-4E81-A3BE-40F0356AD8D8}"/>
              </a:ext>
            </a:extLst>
          </p:cNvPr>
          <p:cNvGrpSpPr/>
          <p:nvPr/>
        </p:nvGrpSpPr>
        <p:grpSpPr>
          <a:xfrm>
            <a:off x="5285487" y="641465"/>
            <a:ext cx="1555241" cy="2351956"/>
            <a:chOff x="7233314" y="2333616"/>
            <a:chExt cx="1555682" cy="2352623"/>
          </a:xfrm>
          <a:effectLst/>
        </p:grpSpPr>
        <p:sp>
          <p:nvSpPr>
            <p:cNvPr id="11" name="Oval 10">
              <a:extLst>
                <a:ext uri="{FF2B5EF4-FFF2-40B4-BE49-F238E27FC236}">
                  <a16:creationId xmlns:a16="http://schemas.microsoft.com/office/drawing/2014/main" id="{5D5191D8-AA6C-4194-AF0E-F25C79C65D84}"/>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4FAF8F18-9C87-44D0-A48D-53022407DD7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sp>
        <p:nvSpPr>
          <p:cNvPr id="9" name="Oval 8">
            <a:extLst>
              <a:ext uri="{FF2B5EF4-FFF2-40B4-BE49-F238E27FC236}">
                <a16:creationId xmlns:a16="http://schemas.microsoft.com/office/drawing/2014/main" id="{23819E16-0500-4E8C-99A5-3D44BFECB221}"/>
              </a:ext>
            </a:extLst>
          </p:cNvPr>
          <p:cNvSpPr/>
          <p:nvPr/>
        </p:nvSpPr>
        <p:spPr bwMode="auto">
          <a:xfrm>
            <a:off x="5541108" y="641838"/>
            <a:ext cx="1065822" cy="1056053"/>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icture containing drawing&#10;&#10;Description automatically generated">
            <a:extLst>
              <a:ext uri="{FF2B5EF4-FFF2-40B4-BE49-F238E27FC236}">
                <a16:creationId xmlns:a16="http://schemas.microsoft.com/office/drawing/2014/main" id="{D7095786-CEF9-4B97-932D-827899057A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7394" y="906407"/>
            <a:ext cx="553237" cy="553237"/>
          </a:xfrm>
          <a:prstGeom prst="rect">
            <a:avLst/>
          </a:prstGeom>
        </p:spPr>
      </p:pic>
      <p:pic>
        <p:nvPicPr>
          <p:cNvPr id="5125" name="Picture 5">
            <a:extLst>
              <a:ext uri="{FF2B5EF4-FFF2-40B4-BE49-F238E27FC236}">
                <a16:creationId xmlns:a16="http://schemas.microsoft.com/office/drawing/2014/main" id="{19902176-87A1-4810-A264-3CB7F9D9E8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7893150"/>
      </p:ext>
    </p:extLst>
  </p:cSld>
  <p:clrMapOvr>
    <a:masterClrMapping/>
  </p:clrMapOvr>
  <p:transition spd="slow">
    <p:push dir="u"/>
  </p:transition>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omplex challenges</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4A846339-E382-44CD-9A38-C66BD3AF7ABA}"/>
              </a:ext>
            </a:extLst>
          </p:cNvPr>
          <p:cNvGrpSpPr/>
          <p:nvPr/>
        </p:nvGrpSpPr>
        <p:grpSpPr>
          <a:xfrm>
            <a:off x="1021998" y="1769449"/>
            <a:ext cx="3184200" cy="3340251"/>
            <a:chOff x="1106659" y="1638178"/>
            <a:chExt cx="3248050" cy="3407230"/>
          </a:xfrm>
        </p:grpSpPr>
        <p:sp>
          <p:nvSpPr>
            <p:cNvPr id="28" name="Oval 27">
              <a:extLst>
                <a:ext uri="{FF2B5EF4-FFF2-40B4-BE49-F238E27FC236}">
                  <a16:creationId xmlns:a16="http://schemas.microsoft.com/office/drawing/2014/main" id="{A24C8DBB-A28F-4F54-927D-15C54063A628}"/>
                </a:ext>
              </a:extLst>
            </p:cNvPr>
            <p:cNvSpPr/>
            <p:nvPr/>
          </p:nvSpPr>
          <p:spPr bwMode="auto">
            <a:xfrm>
              <a:off x="1655863"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66%</a:t>
              </a:r>
            </a:p>
          </p:txBody>
        </p:sp>
        <p:sp>
          <p:nvSpPr>
            <p:cNvPr id="29" name="Rectangle 28">
              <a:extLst>
                <a:ext uri="{FF2B5EF4-FFF2-40B4-BE49-F238E27FC236}">
                  <a16:creationId xmlns:a16="http://schemas.microsoft.com/office/drawing/2014/main" id="{ABD4858A-B202-4515-8548-9396D455C734}"/>
                </a:ext>
              </a:extLst>
            </p:cNvPr>
            <p:cNvSpPr/>
            <p:nvPr/>
          </p:nvSpPr>
          <p:spPr>
            <a:xfrm>
              <a:off x="1106659" y="4122078"/>
              <a:ext cx="3248050" cy="923330"/>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 </a:t>
              </a:r>
            </a:p>
          </p:txBody>
        </p:sp>
      </p:grpSp>
      <p:grpSp>
        <p:nvGrpSpPr>
          <p:cNvPr id="30" name="Group 29">
            <a:extLst>
              <a:ext uri="{FF2B5EF4-FFF2-40B4-BE49-F238E27FC236}">
                <a16:creationId xmlns:a16="http://schemas.microsoft.com/office/drawing/2014/main" id="{1F1EDCFF-3C1E-4B00-89FD-266D99FC1C9B}"/>
              </a:ext>
            </a:extLst>
          </p:cNvPr>
          <p:cNvGrpSpPr/>
          <p:nvPr/>
        </p:nvGrpSpPr>
        <p:grpSpPr>
          <a:xfrm>
            <a:off x="7985802" y="1769450"/>
            <a:ext cx="3184200" cy="3068697"/>
            <a:chOff x="8081765" y="1638178"/>
            <a:chExt cx="3248050" cy="3130231"/>
          </a:xfrm>
        </p:grpSpPr>
        <p:sp>
          <p:nvSpPr>
            <p:cNvPr id="31" name="Oval 30">
              <a:extLst>
                <a:ext uri="{FF2B5EF4-FFF2-40B4-BE49-F238E27FC236}">
                  <a16:creationId xmlns:a16="http://schemas.microsoft.com/office/drawing/2014/main" id="{D4C8577D-CF3B-4951-AFA3-2C1A5F1A49E3}"/>
                </a:ext>
              </a:extLst>
            </p:cNvPr>
            <p:cNvSpPr/>
            <p:nvPr/>
          </p:nvSpPr>
          <p:spPr bwMode="auto">
            <a:xfrm>
              <a:off x="8630969"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59%</a:t>
              </a:r>
            </a:p>
          </p:txBody>
        </p:sp>
        <p:sp>
          <p:nvSpPr>
            <p:cNvPr id="32" name="Rectangle 31">
              <a:extLst>
                <a:ext uri="{FF2B5EF4-FFF2-40B4-BE49-F238E27FC236}">
                  <a16:creationId xmlns:a16="http://schemas.microsoft.com/office/drawing/2014/main" id="{F4B69696-B341-4E08-A935-D52122121DE3}"/>
                </a:ext>
              </a:extLst>
            </p:cNvPr>
            <p:cNvSpPr/>
            <p:nvPr/>
          </p:nvSpPr>
          <p:spPr>
            <a:xfrm>
              <a:off x="8081765" y="4122078"/>
              <a:ext cx="3248050" cy="646331"/>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hannels are </a:t>
              </a:r>
              <a:b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naged in silo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grpSp>
      <p:grpSp>
        <p:nvGrpSpPr>
          <p:cNvPr id="33" name="Group 32">
            <a:extLst>
              <a:ext uri="{FF2B5EF4-FFF2-40B4-BE49-F238E27FC236}">
                <a16:creationId xmlns:a16="http://schemas.microsoft.com/office/drawing/2014/main" id="{CE8AD4B3-5D19-40B6-B676-5A050123D6EF}"/>
              </a:ext>
            </a:extLst>
          </p:cNvPr>
          <p:cNvGrpSpPr/>
          <p:nvPr/>
        </p:nvGrpSpPr>
        <p:grpSpPr>
          <a:xfrm>
            <a:off x="4503900" y="1769449"/>
            <a:ext cx="3184200" cy="3340251"/>
            <a:chOff x="4594212" y="1638178"/>
            <a:chExt cx="3248050" cy="3407230"/>
          </a:xfrm>
        </p:grpSpPr>
        <p:sp>
          <p:nvSpPr>
            <p:cNvPr id="34" name="Oval 33">
              <a:extLst>
                <a:ext uri="{FF2B5EF4-FFF2-40B4-BE49-F238E27FC236}">
                  <a16:creationId xmlns:a16="http://schemas.microsoft.com/office/drawing/2014/main" id="{A077FE84-D6E6-474C-8E6A-721743422725}"/>
                </a:ext>
              </a:extLst>
            </p:cNvPr>
            <p:cNvSpPr/>
            <p:nvPr/>
          </p:nvSpPr>
          <p:spPr bwMode="auto">
            <a:xfrm>
              <a:off x="5143416"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90%</a:t>
              </a:r>
            </a:p>
          </p:txBody>
        </p:sp>
        <p:sp>
          <p:nvSpPr>
            <p:cNvPr id="35" name="Rectangle 34">
              <a:extLst>
                <a:ext uri="{FF2B5EF4-FFF2-40B4-BE49-F238E27FC236}">
                  <a16:creationId xmlns:a16="http://schemas.microsoft.com/office/drawing/2014/main" id="{43F14C8C-FD66-471A-99DF-3F674E1AECBE}"/>
                </a:ext>
              </a:extLst>
            </p:cNvPr>
            <p:cNvSpPr/>
            <p:nvPr/>
          </p:nvSpPr>
          <p:spPr>
            <a:xfrm>
              <a:off x="4594212" y="4122078"/>
              <a:ext cx="3248050" cy="923330"/>
            </a:xfrm>
            <a:prstGeom prst="rect">
              <a:avLst/>
            </a:prstGeom>
          </p:spPr>
          <p:txBody>
            <a:bodyPr wrap="square" lIns="0" rIns="0">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ustomers expect consistency and continuity across channel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grpSp>
    </p:spTree>
    <p:extLst>
      <p:ext uri="{BB962C8B-B14F-4D97-AF65-F5344CB8AC3E}">
        <p14:creationId xmlns:p14="http://schemas.microsoft.com/office/powerpoint/2010/main" val="11512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nodeType="withEffect">
                                  <p:stCondLst>
                                    <p:cond delay="0"/>
                                  </p:stCondLst>
                                  <p:childTnLst>
                                    <p:animMotion origin="layout" path="M 1.65943E-7 1.25738E-6 L 1.65943E-7 0.03541 " pathEditMode="relative" rAng="0" ptsTypes="AA">
                                      <p:cBhvr>
                                        <p:cTn id="9" dur="700" spd="-100000" fill="hold"/>
                                        <p:tgtEl>
                                          <p:spTgt spid="27"/>
                                        </p:tgtEl>
                                        <p:attrNameLst>
                                          <p:attrName>ppt_x</p:attrName>
                                          <p:attrName>ppt_y</p:attrName>
                                        </p:attrNameLst>
                                      </p:cBhvr>
                                      <p:rCtr x="0" y="177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42" presetClass="path" presetSubtype="0" decel="100000" fill="hold" nodeType="withEffect">
                                  <p:stCondLst>
                                    <p:cond delay="0"/>
                                  </p:stCondLst>
                                  <p:childTnLst>
                                    <p:animMotion origin="layout" path="M 0 1.25738E-6 L 0 0.03541 " pathEditMode="relative" rAng="0" ptsTypes="AA">
                                      <p:cBhvr>
                                        <p:cTn id="16" dur="700" spd="-100000" fill="hold"/>
                                        <p:tgtEl>
                                          <p:spTgt spid="33"/>
                                        </p:tgtEl>
                                        <p:attrNameLst>
                                          <p:attrName>ppt_x</p:attrName>
                                          <p:attrName>ppt_y</p:attrName>
                                        </p:attrNameLst>
                                      </p:cBhvr>
                                      <p:rCtr x="0" y="177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42" presetClass="path" presetSubtype="0" decel="100000" fill="hold" nodeType="withEffect">
                                  <p:stCondLst>
                                    <p:cond delay="0"/>
                                  </p:stCondLst>
                                  <p:childTnLst>
                                    <p:animMotion origin="layout" path="M -1.65943E-7 4.02179E-6 L -1.65943E-7 0.0354 " pathEditMode="relative" rAng="0" ptsTypes="AA">
                                      <p:cBhvr>
                                        <p:cTn id="23" dur="700" spd="-100000" fill="hold"/>
                                        <p:tgtEl>
                                          <p:spTgt spid="30"/>
                                        </p:tgtEl>
                                        <p:attrNameLst>
                                          <p:attrName>ppt_x</p:attrName>
                                          <p:attrName>ppt_y</p:attrName>
                                        </p:attrNameLst>
                                      </p:cBhvr>
                                      <p:rCtr x="0" y="17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hat bots can help, but…</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Diagram 2">
            <a:extLst>
              <a:ext uri="{FF2B5EF4-FFF2-40B4-BE49-F238E27FC236}">
                <a16:creationId xmlns:a16="http://schemas.microsoft.com/office/drawing/2014/main" id="{3F76EE1D-9133-4EAE-A102-FA863FC25D34}"/>
              </a:ext>
            </a:extLst>
          </p:cNvPr>
          <p:cNvGraphicFramePr/>
          <p:nvPr/>
        </p:nvGraphicFramePr>
        <p:xfrm>
          <a:off x="-581546" y="1845126"/>
          <a:ext cx="5556155" cy="312717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a:extLst>
              <a:ext uri="{FF2B5EF4-FFF2-40B4-BE49-F238E27FC236}">
                <a16:creationId xmlns:a16="http://schemas.microsoft.com/office/drawing/2014/main" id="{800B64A8-FB81-476E-BC46-C7BAF81D0E24}"/>
              </a:ext>
            </a:extLst>
          </p:cNvPr>
          <p:cNvSpPr txBox="1"/>
          <p:nvPr/>
        </p:nvSpPr>
        <p:spPr>
          <a:xfrm>
            <a:off x="4544703" y="1581307"/>
            <a:ext cx="7343988" cy="4004173"/>
          </a:xfrm>
          <a:prstGeom prst="rect">
            <a:avLst/>
          </a:prstGeom>
          <a:noFill/>
        </p:spPr>
        <p:txBody>
          <a:bodyPr wrap="square" lIns="182880" tIns="146304" rIns="182880" bIns="146304" rtlCol="0" anchor="t">
            <a:spAutoFit/>
          </a:bodyPr>
          <a:lstStyle/>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 hard to create and expensive to maintain</a:t>
            </a: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re is friction between the subject matter experts with answers - and the developers and scientists who create bot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n’t useful unless they can integrate with the backend and provide personalized answer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BAAE3835-2EF4-4DBC-8F9C-834E7A32E49D}"/>
              </a:ext>
            </a:extLst>
          </p:cNvPr>
          <p:cNvGrpSpPr/>
          <p:nvPr/>
        </p:nvGrpSpPr>
        <p:grpSpPr>
          <a:xfrm>
            <a:off x="303310" y="2829191"/>
            <a:ext cx="1008364" cy="1159039"/>
            <a:chOff x="1985294" y="984065"/>
            <a:chExt cx="1008364" cy="1159039"/>
          </a:xfrm>
          <a:solidFill>
            <a:schemeClr val="tx2"/>
          </a:solidFill>
        </p:grpSpPr>
        <p:sp>
          <p:nvSpPr>
            <p:cNvPr id="18" name="Hexagon 17">
              <a:extLst>
                <a:ext uri="{FF2B5EF4-FFF2-40B4-BE49-F238E27FC236}">
                  <a16:creationId xmlns:a16="http://schemas.microsoft.com/office/drawing/2014/main" id="{D11D2F52-51A9-4E46-8D59-13FAF60F878F}"/>
                </a:ext>
              </a:extLst>
            </p:cNvPr>
            <p:cNvSpPr/>
            <p:nvPr/>
          </p:nvSpPr>
          <p:spPr>
            <a:xfrm rot="5400000">
              <a:off x="1909956" y="1059403"/>
              <a:ext cx="1159039" cy="1008364"/>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Hexagon 4">
              <a:extLst>
                <a:ext uri="{FF2B5EF4-FFF2-40B4-BE49-F238E27FC236}">
                  <a16:creationId xmlns:a16="http://schemas.microsoft.com/office/drawing/2014/main" id="{BC37C537-76B5-4609-B7FC-F0CCB4E09400}"/>
                </a:ext>
              </a:extLst>
            </p:cNvPr>
            <p:cNvSpPr txBox="1"/>
            <p:nvPr/>
          </p:nvSpPr>
          <p:spPr>
            <a:xfrm>
              <a:off x="2142430" y="1164683"/>
              <a:ext cx="694090" cy="79780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marR="0" lvl="0" indent="0" algn="ctr" defTabSz="1511300" rtl="0" eaLnBrk="1" fontAlgn="auto" latinLnBrk="0" hangingPunct="1">
                <a:lnSpc>
                  <a:spcPct val="90000"/>
                </a:lnSpc>
                <a:spcBef>
                  <a:spcPct val="0"/>
                </a:spcBef>
                <a:spcAft>
                  <a:spcPct val="35000"/>
                </a:spcAft>
                <a:buClrTx/>
                <a:buSzTx/>
                <a:buFontTx/>
                <a:buNone/>
                <a:tabLst/>
                <a:defRPr/>
              </a:pPr>
              <a:r>
                <a:rPr kumimoji="0" lang="en-US" sz="3400" b="0" i="0" u="none" strike="noStrike" kern="1200" cap="none" spc="0" normalizeH="0" baseline="0" noProof="0">
                  <a:ln>
                    <a:noFill/>
                  </a:ln>
                  <a:solidFill>
                    <a:srgbClr val="FFFFFF"/>
                  </a:solidFill>
                  <a:effectLst/>
                  <a:uLnTx/>
                  <a:uFillTx/>
                  <a:latin typeface="Segoe UI"/>
                  <a:ea typeface="+mn-ea"/>
                  <a:cs typeface="+mn-cs"/>
                </a:rPr>
                <a:t> </a:t>
              </a:r>
            </a:p>
          </p:txBody>
        </p:sp>
      </p:grpSp>
      <p:pic>
        <p:nvPicPr>
          <p:cNvPr id="16" name="Picture 15" descr="A picture containing drawing&#10;&#10;Description automatically generated">
            <a:extLst>
              <a:ext uri="{FF2B5EF4-FFF2-40B4-BE49-F238E27FC236}">
                <a16:creationId xmlns:a16="http://schemas.microsoft.com/office/drawing/2014/main" id="{524D2ABA-410A-4948-BC9B-36BE5BDC7AB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0872" y="3152381"/>
            <a:ext cx="553237" cy="553237"/>
          </a:xfrm>
          <a:prstGeom prst="rect">
            <a:avLst/>
          </a:prstGeom>
        </p:spPr>
      </p:pic>
    </p:spTree>
    <p:extLst>
      <p:ext uri="{BB962C8B-B14F-4D97-AF65-F5344CB8AC3E}">
        <p14:creationId xmlns:p14="http://schemas.microsoft.com/office/powerpoint/2010/main" val="203153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88="http://schemas.microsoft.com/office/powerpoint/2018/8/main" xmlns:a14="http://schemas.microsoft.com/office/drawing/2010/main" xmlns:dgm="http://schemas.openxmlformats.org/drawingml/2006/diagram"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A987A1-E1FB-4C2E-BAEA-A256F89AA3F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65" y="487"/>
            <a:ext cx="4532066" cy="6857027"/>
          </a:xfrm>
          <a:prstGeom prst="rect">
            <a:avLst/>
          </a:prstGeom>
        </p:spPr>
      </p:pic>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441341" y="244313"/>
            <a:ext cx="11306469" cy="403137"/>
          </a:xfrm>
        </p:spPr>
        <p:txBody>
          <a:bodyPr vert="horz" wrap="square" lIns="2377103" tIns="0" rIns="0" bIns="0" rtlCol="0" anchor="t">
            <a:spAutoFit/>
          </a:bodyPr>
          <a:lstStyle/>
          <a:p>
            <a:pPr algn="ctr"/>
            <a:r>
              <a:rPr lang="en-US"/>
              <a:t>Our vision: Power Virtual Agents</a:t>
            </a: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864" y="5127814"/>
            <a:ext cx="4542781" cy="1729701"/>
          </a:xfrm>
          <a:prstGeom prst="rect">
            <a:avLst/>
          </a:prstGeom>
          <a:solidFill>
            <a:schemeClr val="accent2"/>
          </a:solidFill>
        </p:spPr>
        <p:txBody>
          <a:bodyPr vert="horz" lIns="274281" tIns="274281" rIns="274281" bIns="274281"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a:ln>
                  <a:noFill/>
                </a:ln>
                <a:gradFill>
                  <a:gsLst>
                    <a:gs pos="0">
                      <a:srgbClr val="FFFFFF"/>
                    </a:gs>
                    <a:gs pos="100000">
                      <a:srgbClr val="FFFFFF"/>
                    </a:gs>
                  </a:gsLst>
                  <a:lin ang="5400000" scaled="1"/>
                </a:gradFill>
                <a:effectLst/>
                <a:uLnTx/>
                <a:uFillTx/>
                <a:latin typeface="Segoe UI Semibold"/>
                <a:ea typeface="+mn-ea"/>
                <a:cs typeface="+mn-cs"/>
              </a:rPr>
              <a:t>Empower every organization to easily provide delightful, natural interactions with their customers and improve engagement and outcomes </a:t>
            </a: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6008078" y="933344"/>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ENGAGE NATURALLY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ngage with your customers and employees conversationally. Resolve routine issues easily, freeing up staff to focus on complex matter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3" name="Group 2">
            <a:extLst>
              <a:ext uri="{FF2B5EF4-FFF2-40B4-BE49-F238E27FC236}">
                <a16:creationId xmlns:a16="http://schemas.microsoft.com/office/drawing/2014/main" id="{058E88A2-D2BB-4E1F-B502-A4BA6377D3F3}"/>
              </a:ext>
            </a:extLst>
          </p:cNvPr>
          <p:cNvGrpSpPr/>
          <p:nvPr/>
        </p:nvGrpSpPr>
        <p:grpSpPr>
          <a:xfrm>
            <a:off x="5003746" y="2364396"/>
            <a:ext cx="6977769" cy="899536"/>
            <a:chOff x="5003746" y="2364396"/>
            <a:chExt cx="6977769" cy="899536"/>
          </a:xfrm>
        </p:grpSpPr>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5997801" y="2364396"/>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DEMOCRATIZE AI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mpower your subject matter experts to easily create powerful bots using a guided, no-code graphical interface. No need for developers or data scientists. </a:t>
              </a: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123" name="Group 122">
              <a:extLst>
                <a:ext uri="{FF2B5EF4-FFF2-40B4-BE49-F238E27FC236}">
                  <a16:creationId xmlns:a16="http://schemas.microsoft.com/office/drawing/2014/main" id="{139EE43C-F8A9-49AD-BBE6-34CC9A6BE51F}"/>
                </a:ext>
              </a:extLst>
            </p:cNvPr>
            <p:cNvGrpSpPr/>
            <p:nvPr/>
          </p:nvGrpSpPr>
          <p:grpSpPr>
            <a:xfrm>
              <a:off x="5003746" y="2426656"/>
              <a:ext cx="725941" cy="773428"/>
              <a:chOff x="-1624914" y="2732331"/>
              <a:chExt cx="726044" cy="773538"/>
            </a:xfrm>
            <a:solidFill>
              <a:schemeClr val="bg1"/>
            </a:solidFill>
          </p:grpSpPr>
          <p:grpSp>
            <p:nvGrpSpPr>
              <p:cNvPr id="124" name="Group 123">
                <a:extLst>
                  <a:ext uri="{FF2B5EF4-FFF2-40B4-BE49-F238E27FC236}">
                    <a16:creationId xmlns:a16="http://schemas.microsoft.com/office/drawing/2014/main" id="{5C8613C8-2519-4272-831E-1D2465A96FAF}"/>
                  </a:ext>
                </a:extLst>
              </p:cNvPr>
              <p:cNvGrpSpPr/>
              <p:nvPr/>
            </p:nvGrpSpPr>
            <p:grpSpPr>
              <a:xfrm>
                <a:off x="-1421228" y="2901913"/>
                <a:ext cx="301374" cy="339829"/>
                <a:chOff x="2058958" y="3484169"/>
                <a:chExt cx="301374" cy="339829"/>
              </a:xfrm>
              <a:grpFill/>
            </p:grpSpPr>
            <p:sp>
              <p:nvSpPr>
                <p:cNvPr id="144" name="Freeform: Shape 143">
                  <a:extLst>
                    <a:ext uri="{FF2B5EF4-FFF2-40B4-BE49-F238E27FC236}">
                      <a16:creationId xmlns:a16="http://schemas.microsoft.com/office/drawing/2014/main" id="{F706FB05-8E54-4EF3-A950-74A5772498AE}"/>
                    </a:ext>
                  </a:extLst>
                </p:cNvPr>
                <p:cNvSpPr/>
                <p:nvPr/>
              </p:nvSpPr>
              <p:spPr>
                <a:xfrm>
                  <a:off x="2144012" y="3484169"/>
                  <a:ext cx="133943" cy="133943"/>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760DEB0-197A-47F4-A000-7C532330172D}"/>
                    </a:ext>
                  </a:extLst>
                </p:cNvPr>
                <p:cNvSpPr/>
                <p:nvPr/>
              </p:nvSpPr>
              <p:spPr>
                <a:xfrm>
                  <a:off x="2058958" y="3669962"/>
                  <a:ext cx="301374" cy="154036"/>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5" name="Freeform: Shape 124">
                <a:extLst>
                  <a:ext uri="{FF2B5EF4-FFF2-40B4-BE49-F238E27FC236}">
                    <a16:creationId xmlns:a16="http://schemas.microsoft.com/office/drawing/2014/main" id="{C07AC101-AB64-4D81-8103-66AB1E3612C9}"/>
                  </a:ext>
                </a:extLst>
              </p:cNvPr>
              <p:cNvSpPr/>
              <p:nvPr/>
            </p:nvSpPr>
            <p:spPr>
              <a:xfrm>
                <a:off x="-1623576" y="2853635"/>
                <a:ext cx="724706" cy="652234"/>
              </a:xfrm>
              <a:custGeom>
                <a:avLst/>
                <a:gdLst>
                  <a:gd name="connsiteX0" fmla="*/ 549905 w 922539"/>
                  <a:gd name="connsiteY0" fmla="*/ 739025 h 830285"/>
                  <a:gd name="connsiteX1" fmla="*/ 457083 w 922539"/>
                  <a:gd name="connsiteY1" fmla="*/ 831846 h 830285"/>
                  <a:gd name="connsiteX2" fmla="*/ 364261 w 922539"/>
                  <a:gd name="connsiteY2" fmla="*/ 739025 h 830285"/>
                  <a:gd name="connsiteX3" fmla="*/ 457083 w 922539"/>
                  <a:gd name="connsiteY3" fmla="*/ 646203 h 830285"/>
                  <a:gd name="connsiteX4" fmla="*/ 549905 w 922539"/>
                  <a:gd name="connsiteY4" fmla="*/ 739025 h 830285"/>
                  <a:gd name="connsiteX5" fmla="*/ 92822 w 922539"/>
                  <a:gd name="connsiteY5" fmla="*/ 0 h 830285"/>
                  <a:gd name="connsiteX6" fmla="*/ 0 w 922539"/>
                  <a:gd name="connsiteY6" fmla="*/ 92822 h 830285"/>
                  <a:gd name="connsiteX7" fmla="*/ 92822 w 922539"/>
                  <a:gd name="connsiteY7" fmla="*/ 185643 h 830285"/>
                  <a:gd name="connsiteX8" fmla="*/ 185643 w 922539"/>
                  <a:gd name="connsiteY8" fmla="*/ 92822 h 830285"/>
                  <a:gd name="connsiteX9" fmla="*/ 92822 w 922539"/>
                  <a:gd name="connsiteY9" fmla="*/ 0 h 830285"/>
                  <a:gd name="connsiteX10" fmla="*/ 835821 w 922539"/>
                  <a:gd name="connsiteY10" fmla="*/ 0 h 830285"/>
                  <a:gd name="connsiteX11" fmla="*/ 742999 w 922539"/>
                  <a:gd name="connsiteY11" fmla="*/ 92822 h 830285"/>
                  <a:gd name="connsiteX12" fmla="*/ 835821 w 922539"/>
                  <a:gd name="connsiteY12" fmla="*/ 185643 h 830285"/>
                  <a:gd name="connsiteX13" fmla="*/ 928643 w 922539"/>
                  <a:gd name="connsiteY13" fmla="*/ 92822 h 830285"/>
                  <a:gd name="connsiteX14" fmla="*/ 835821 w 922539"/>
                  <a:gd name="connsiteY14" fmla="*/ 0 h 8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2539" h="830285">
                    <a:moveTo>
                      <a:pt x="549905" y="739025"/>
                    </a:moveTo>
                    <a:cubicBezTo>
                      <a:pt x="549905" y="790261"/>
                      <a:pt x="508319" y="831846"/>
                      <a:pt x="457083" y="831846"/>
                    </a:cubicBezTo>
                    <a:cubicBezTo>
                      <a:pt x="405846" y="831846"/>
                      <a:pt x="364261" y="790261"/>
                      <a:pt x="364261" y="739025"/>
                    </a:cubicBezTo>
                    <a:cubicBezTo>
                      <a:pt x="364261" y="687788"/>
                      <a:pt x="405846" y="646203"/>
                      <a:pt x="457083" y="646203"/>
                    </a:cubicBezTo>
                    <a:cubicBezTo>
                      <a:pt x="508319" y="646203"/>
                      <a:pt x="549905" y="687788"/>
                      <a:pt x="549905" y="739025"/>
                    </a:cubicBezTo>
                    <a:close/>
                    <a:moveTo>
                      <a:pt x="92822" y="0"/>
                    </a:moveTo>
                    <a:cubicBezTo>
                      <a:pt x="41585" y="0"/>
                      <a:pt x="0" y="41585"/>
                      <a:pt x="0" y="92822"/>
                    </a:cubicBezTo>
                    <a:cubicBezTo>
                      <a:pt x="0" y="144058"/>
                      <a:pt x="41585" y="185643"/>
                      <a:pt x="92822" y="185643"/>
                    </a:cubicBezTo>
                    <a:cubicBezTo>
                      <a:pt x="144058" y="185643"/>
                      <a:pt x="185643" y="144058"/>
                      <a:pt x="185643" y="92822"/>
                    </a:cubicBezTo>
                    <a:cubicBezTo>
                      <a:pt x="185643" y="41585"/>
                      <a:pt x="144058" y="0"/>
                      <a:pt x="92822" y="0"/>
                    </a:cubicBezTo>
                    <a:close/>
                    <a:moveTo>
                      <a:pt x="835821" y="0"/>
                    </a:moveTo>
                    <a:cubicBezTo>
                      <a:pt x="784584" y="0"/>
                      <a:pt x="742999" y="41585"/>
                      <a:pt x="742999" y="92822"/>
                    </a:cubicBezTo>
                    <a:cubicBezTo>
                      <a:pt x="742999" y="144058"/>
                      <a:pt x="784584" y="185643"/>
                      <a:pt x="835821" y="185643"/>
                    </a:cubicBezTo>
                    <a:cubicBezTo>
                      <a:pt x="887057" y="185643"/>
                      <a:pt x="928643" y="144058"/>
                      <a:pt x="928643" y="92822"/>
                    </a:cubicBezTo>
                    <a:cubicBezTo>
                      <a:pt x="928643" y="41585"/>
                      <a:pt x="887128" y="0"/>
                      <a:pt x="835821" y="0"/>
                    </a:cubicBezTo>
                    <a:close/>
                  </a:path>
                </a:pathLst>
              </a:custGeom>
              <a:solidFill>
                <a:schemeClr val="accent5"/>
              </a:solidFill>
              <a:ln w="705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5A14E1B-B438-4E78-9630-87D66F6FBB4D}"/>
                  </a:ext>
                </a:extLst>
              </p:cNvPr>
              <p:cNvSpPr/>
              <p:nvPr/>
            </p:nvSpPr>
            <p:spPr>
              <a:xfrm>
                <a:off x="-1079601" y="2793318"/>
                <a:ext cx="50171" cy="50171"/>
              </a:xfrm>
              <a:custGeom>
                <a:avLst/>
                <a:gdLst>
                  <a:gd name="connsiteX0" fmla="*/ 42792 w 63868"/>
                  <a:gd name="connsiteY0" fmla="*/ 68268 h 63868"/>
                  <a:gd name="connsiteX1" fmla="*/ 0 w 63868"/>
                  <a:gd name="connsiteY1" fmla="*/ 35340 h 63868"/>
                  <a:gd name="connsiteX2" fmla="*/ 23773 w 63868"/>
                  <a:gd name="connsiteY2" fmla="*/ 0 h 63868"/>
                  <a:gd name="connsiteX3" fmla="*/ 70894 w 63868"/>
                  <a:gd name="connsiteY3" fmla="*/ 36263 h 63868"/>
                  <a:gd name="connsiteX4" fmla="*/ 42792 w 63868"/>
                  <a:gd name="connsiteY4" fmla="*/ 6826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42792" y="68268"/>
                    </a:moveTo>
                    <a:cubicBezTo>
                      <a:pt x="29308" y="56417"/>
                      <a:pt x="14903" y="45346"/>
                      <a:pt x="0" y="35340"/>
                    </a:cubicBezTo>
                    <a:lnTo>
                      <a:pt x="23773" y="0"/>
                    </a:lnTo>
                    <a:cubicBezTo>
                      <a:pt x="40166" y="11000"/>
                      <a:pt x="55991" y="23205"/>
                      <a:pt x="70894" y="36263"/>
                    </a:cubicBezTo>
                    <a:lnTo>
                      <a:pt x="42792" y="6826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AADD1FC0-2CF6-48A4-8D0C-4E68E56B047B}"/>
                  </a:ext>
                </a:extLst>
              </p:cNvPr>
              <p:cNvSpPr/>
              <p:nvPr/>
            </p:nvSpPr>
            <p:spPr>
              <a:xfrm>
                <a:off x="-1155305" y="2751674"/>
                <a:ext cx="50171" cy="44598"/>
              </a:xfrm>
              <a:custGeom>
                <a:avLst/>
                <a:gdLst>
                  <a:gd name="connsiteX0" fmla="*/ 49746 w 63868"/>
                  <a:gd name="connsiteY0" fmla="*/ 61171 h 56771"/>
                  <a:gd name="connsiteX1" fmla="*/ 0 w 63868"/>
                  <a:gd name="connsiteY1" fmla="*/ 40237 h 56771"/>
                  <a:gd name="connsiteX2" fmla="*/ 13980 w 63868"/>
                  <a:gd name="connsiteY2" fmla="*/ 0 h 56771"/>
                  <a:gd name="connsiteX3" fmla="*/ 68836 w 63868"/>
                  <a:gd name="connsiteY3" fmla="*/ 23134 h 56771"/>
                  <a:gd name="connsiteX4" fmla="*/ 49746 w 63868"/>
                  <a:gd name="connsiteY4" fmla="*/ 6117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49746" y="61171"/>
                    </a:moveTo>
                    <a:cubicBezTo>
                      <a:pt x="33708" y="53152"/>
                      <a:pt x="16961" y="46056"/>
                      <a:pt x="0" y="40237"/>
                    </a:cubicBezTo>
                    <a:lnTo>
                      <a:pt x="13980" y="0"/>
                    </a:lnTo>
                    <a:cubicBezTo>
                      <a:pt x="32644" y="6458"/>
                      <a:pt x="51095" y="14264"/>
                      <a:pt x="68836" y="23134"/>
                    </a:cubicBezTo>
                    <a:lnTo>
                      <a:pt x="49746" y="61171"/>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25CBD3BD-25C6-4D0A-B1A0-826078601FE1}"/>
                  </a:ext>
                </a:extLst>
              </p:cNvPr>
              <p:cNvSpPr/>
              <p:nvPr/>
            </p:nvSpPr>
            <p:spPr>
              <a:xfrm>
                <a:off x="-1495915" y="2789193"/>
                <a:ext cx="50171" cy="50171"/>
              </a:xfrm>
              <a:custGeom>
                <a:avLst/>
                <a:gdLst>
                  <a:gd name="connsiteX0" fmla="*/ 27463 w 63868"/>
                  <a:gd name="connsiteY0" fmla="*/ 67842 h 63868"/>
                  <a:gd name="connsiteX1" fmla="*/ 0 w 63868"/>
                  <a:gd name="connsiteY1" fmla="*/ 35340 h 63868"/>
                  <a:gd name="connsiteX2" fmla="*/ 47759 w 63868"/>
                  <a:gd name="connsiteY2" fmla="*/ 0 h 63868"/>
                  <a:gd name="connsiteX3" fmla="*/ 70823 w 63868"/>
                  <a:gd name="connsiteY3" fmla="*/ 35766 h 63868"/>
                  <a:gd name="connsiteX4" fmla="*/ 27463 w 63868"/>
                  <a:gd name="connsiteY4" fmla="*/ 6784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27463" y="67842"/>
                    </a:moveTo>
                    <a:lnTo>
                      <a:pt x="0" y="35340"/>
                    </a:lnTo>
                    <a:cubicBezTo>
                      <a:pt x="15115" y="22567"/>
                      <a:pt x="31224" y="10716"/>
                      <a:pt x="47759" y="0"/>
                    </a:cubicBezTo>
                    <a:lnTo>
                      <a:pt x="70823" y="35766"/>
                    </a:lnTo>
                    <a:cubicBezTo>
                      <a:pt x="55778" y="45488"/>
                      <a:pt x="41159" y="56275"/>
                      <a:pt x="27463" y="6784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1D47A85A-0224-42D5-B59B-08D4DC4ADB81}"/>
                  </a:ext>
                </a:extLst>
              </p:cNvPr>
              <p:cNvSpPr/>
              <p:nvPr/>
            </p:nvSpPr>
            <p:spPr>
              <a:xfrm>
                <a:off x="-1238201" y="2732778"/>
                <a:ext cx="44598" cy="39022"/>
              </a:xfrm>
              <a:custGeom>
                <a:avLst/>
                <a:gdLst>
                  <a:gd name="connsiteX0" fmla="*/ 53436 w 56771"/>
                  <a:gd name="connsiteY0" fmla="*/ 49888 h 49675"/>
                  <a:gd name="connsiteX1" fmla="*/ 0 w 56771"/>
                  <a:gd name="connsiteY1" fmla="*/ 42437 h 49675"/>
                  <a:gd name="connsiteX2" fmla="*/ 3122 w 56771"/>
                  <a:gd name="connsiteY2" fmla="*/ 0 h 49675"/>
                  <a:gd name="connsiteX3" fmla="*/ 62094 w 56771"/>
                  <a:gd name="connsiteY3" fmla="*/ 8232 h 49675"/>
                  <a:gd name="connsiteX4" fmla="*/ 53436 w 56771"/>
                  <a:gd name="connsiteY4" fmla="*/ 49888 h 4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9675">
                    <a:moveTo>
                      <a:pt x="53436" y="49888"/>
                    </a:moveTo>
                    <a:cubicBezTo>
                      <a:pt x="35908" y="46269"/>
                      <a:pt x="17883" y="43714"/>
                      <a:pt x="0" y="42437"/>
                    </a:cubicBezTo>
                    <a:lnTo>
                      <a:pt x="3122" y="0"/>
                    </a:lnTo>
                    <a:cubicBezTo>
                      <a:pt x="22851" y="1419"/>
                      <a:pt x="42721" y="4258"/>
                      <a:pt x="62094" y="8232"/>
                    </a:cubicBezTo>
                    <a:lnTo>
                      <a:pt x="53436" y="4988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6C6C661-760A-435F-BE4C-A3D740E7439D}"/>
                  </a:ext>
                </a:extLst>
              </p:cNvPr>
              <p:cNvSpPr/>
              <p:nvPr/>
            </p:nvSpPr>
            <p:spPr>
              <a:xfrm>
                <a:off x="-1417537" y="2749333"/>
                <a:ext cx="50171" cy="44598"/>
              </a:xfrm>
              <a:custGeom>
                <a:avLst/>
                <a:gdLst>
                  <a:gd name="connsiteX0" fmla="*/ 18167 w 63868"/>
                  <a:gd name="connsiteY0" fmla="*/ 60320 h 56771"/>
                  <a:gd name="connsiteX1" fmla="*/ 0 w 63868"/>
                  <a:gd name="connsiteY1" fmla="*/ 21857 h 56771"/>
                  <a:gd name="connsiteX2" fmla="*/ 55281 w 63868"/>
                  <a:gd name="connsiteY2" fmla="*/ 0 h 56771"/>
                  <a:gd name="connsiteX3" fmla="*/ 68339 w 63868"/>
                  <a:gd name="connsiteY3" fmla="*/ 40521 h 56771"/>
                  <a:gd name="connsiteX4" fmla="*/ 18167 w 63868"/>
                  <a:gd name="connsiteY4" fmla="*/ 6032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18167" y="60320"/>
                    </a:moveTo>
                    <a:lnTo>
                      <a:pt x="0" y="21857"/>
                    </a:lnTo>
                    <a:cubicBezTo>
                      <a:pt x="17883" y="13412"/>
                      <a:pt x="36476" y="6032"/>
                      <a:pt x="55281" y="0"/>
                    </a:cubicBezTo>
                    <a:lnTo>
                      <a:pt x="68339" y="40521"/>
                    </a:lnTo>
                    <a:cubicBezTo>
                      <a:pt x="51307" y="45985"/>
                      <a:pt x="34418" y="52656"/>
                      <a:pt x="18167" y="6032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399677E8-E75E-4DE2-9229-2190770ED156}"/>
                  </a:ext>
                </a:extLst>
              </p:cNvPr>
              <p:cNvSpPr/>
              <p:nvPr/>
            </p:nvSpPr>
            <p:spPr>
              <a:xfrm>
                <a:off x="-1328789" y="2732331"/>
                <a:ext cx="44598" cy="33447"/>
              </a:xfrm>
              <a:custGeom>
                <a:avLst/>
                <a:gdLst>
                  <a:gd name="connsiteX0" fmla="*/ 61313 w 56771"/>
                  <a:gd name="connsiteY0" fmla="*/ 42508 h 42578"/>
                  <a:gd name="connsiteX1" fmla="*/ 7664 w 56771"/>
                  <a:gd name="connsiteY1" fmla="*/ 48966 h 42578"/>
                  <a:gd name="connsiteX2" fmla="*/ 0 w 56771"/>
                  <a:gd name="connsiteY2" fmla="*/ 7096 h 42578"/>
                  <a:gd name="connsiteX3" fmla="*/ 58972 w 56771"/>
                  <a:gd name="connsiteY3" fmla="*/ 0 h 42578"/>
                  <a:gd name="connsiteX4" fmla="*/ 61313 w 56771"/>
                  <a:gd name="connsiteY4" fmla="*/ 42508 h 4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2578">
                    <a:moveTo>
                      <a:pt x="61313" y="42508"/>
                    </a:moveTo>
                    <a:cubicBezTo>
                      <a:pt x="43430" y="43501"/>
                      <a:pt x="25263" y="45701"/>
                      <a:pt x="7664" y="48966"/>
                    </a:cubicBezTo>
                    <a:lnTo>
                      <a:pt x="0" y="7096"/>
                    </a:lnTo>
                    <a:cubicBezTo>
                      <a:pt x="19373" y="3548"/>
                      <a:pt x="39314" y="1135"/>
                      <a:pt x="58972" y="0"/>
                    </a:cubicBezTo>
                    <a:lnTo>
                      <a:pt x="61313"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974524FF-EABB-46B2-B234-ED1BB85DAC91}"/>
                  </a:ext>
                </a:extLst>
              </p:cNvPr>
              <p:cNvSpPr/>
              <p:nvPr/>
            </p:nvSpPr>
            <p:spPr>
              <a:xfrm>
                <a:off x="-1156475" y="3390976"/>
                <a:ext cx="50171" cy="44598"/>
              </a:xfrm>
              <a:custGeom>
                <a:avLst/>
                <a:gdLst>
                  <a:gd name="connsiteX0" fmla="*/ 0 w 63868"/>
                  <a:gd name="connsiteY0" fmla="*/ 20438 h 56771"/>
                  <a:gd name="connsiteX1" fmla="*/ 49959 w 63868"/>
                  <a:gd name="connsiteY1" fmla="*/ 0 h 56771"/>
                  <a:gd name="connsiteX2" fmla="*/ 68623 w 63868"/>
                  <a:gd name="connsiteY2" fmla="*/ 38250 h 56771"/>
                  <a:gd name="connsiteX3" fmla="*/ 13625 w 63868"/>
                  <a:gd name="connsiteY3" fmla="*/ 60817 h 56771"/>
                  <a:gd name="connsiteX4" fmla="*/ 0 w 63868"/>
                  <a:gd name="connsiteY4" fmla="*/ 2043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0" y="20438"/>
                    </a:moveTo>
                    <a:cubicBezTo>
                      <a:pt x="17032" y="14690"/>
                      <a:pt x="33850" y="7806"/>
                      <a:pt x="49959" y="0"/>
                    </a:cubicBezTo>
                    <a:lnTo>
                      <a:pt x="68623" y="38250"/>
                    </a:lnTo>
                    <a:cubicBezTo>
                      <a:pt x="50882" y="46908"/>
                      <a:pt x="32360" y="54501"/>
                      <a:pt x="13625" y="60817"/>
                    </a:cubicBezTo>
                    <a:lnTo>
                      <a:pt x="0" y="2043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5A4A95DD-9385-4900-84E6-567B795C137F}"/>
                  </a:ext>
                </a:extLst>
              </p:cNvPr>
              <p:cNvSpPr/>
              <p:nvPr/>
            </p:nvSpPr>
            <p:spPr>
              <a:xfrm>
                <a:off x="-1080381" y="3344428"/>
                <a:ext cx="50171" cy="50171"/>
              </a:xfrm>
              <a:custGeom>
                <a:avLst/>
                <a:gdLst>
                  <a:gd name="connsiteX0" fmla="*/ 0 w 63868"/>
                  <a:gd name="connsiteY0" fmla="*/ 32502 h 63868"/>
                  <a:gd name="connsiteX1" fmla="*/ 43075 w 63868"/>
                  <a:gd name="connsiteY1" fmla="*/ 0 h 63868"/>
                  <a:gd name="connsiteX2" fmla="*/ 70894 w 63868"/>
                  <a:gd name="connsiteY2" fmla="*/ 32289 h 63868"/>
                  <a:gd name="connsiteX3" fmla="*/ 23418 w 63868"/>
                  <a:gd name="connsiteY3" fmla="*/ 68126 h 63868"/>
                  <a:gd name="connsiteX4" fmla="*/ 0 w 63868"/>
                  <a:gd name="connsiteY4" fmla="*/ 3250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32502"/>
                    </a:moveTo>
                    <a:cubicBezTo>
                      <a:pt x="15045" y="22638"/>
                      <a:pt x="29521" y="11709"/>
                      <a:pt x="43075" y="0"/>
                    </a:cubicBezTo>
                    <a:lnTo>
                      <a:pt x="70894" y="32289"/>
                    </a:lnTo>
                    <a:cubicBezTo>
                      <a:pt x="55920" y="45204"/>
                      <a:pt x="39953" y="57268"/>
                      <a:pt x="23418" y="68126"/>
                    </a:cubicBezTo>
                    <a:lnTo>
                      <a:pt x="0" y="32502"/>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96EC996-A783-444E-AA01-A3E4964D211E}"/>
                  </a:ext>
                </a:extLst>
              </p:cNvPr>
              <p:cNvSpPr/>
              <p:nvPr/>
            </p:nvSpPr>
            <p:spPr>
              <a:xfrm>
                <a:off x="-937725" y="3032861"/>
                <a:ext cx="33447" cy="44598"/>
              </a:xfrm>
              <a:custGeom>
                <a:avLst/>
                <a:gdLst>
                  <a:gd name="connsiteX0" fmla="*/ 0 w 42578"/>
                  <a:gd name="connsiteY0" fmla="*/ 7451 h 56771"/>
                  <a:gd name="connsiteX1" fmla="*/ 41940 w 42578"/>
                  <a:gd name="connsiteY1" fmla="*/ 0 h 56771"/>
                  <a:gd name="connsiteX2" fmla="*/ 48540 w 42578"/>
                  <a:gd name="connsiteY2" fmla="*/ 59042 h 56771"/>
                  <a:gd name="connsiteX3" fmla="*/ 6032 w 42578"/>
                  <a:gd name="connsiteY3" fmla="*/ 61029 h 56771"/>
                  <a:gd name="connsiteX4" fmla="*/ 0 w 42578"/>
                  <a:gd name="connsiteY4" fmla="*/ 745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0" y="7451"/>
                    </a:moveTo>
                    <a:lnTo>
                      <a:pt x="41940" y="0"/>
                    </a:lnTo>
                    <a:cubicBezTo>
                      <a:pt x="45417" y="19444"/>
                      <a:pt x="47617" y="39385"/>
                      <a:pt x="48540" y="59042"/>
                    </a:cubicBezTo>
                    <a:lnTo>
                      <a:pt x="6032" y="61029"/>
                    </a:lnTo>
                    <a:cubicBezTo>
                      <a:pt x="5180" y="43146"/>
                      <a:pt x="3122" y="25121"/>
                      <a:pt x="0" y="7451"/>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4349E559-4CAE-4C2C-A45A-72F49E13EE75}"/>
                  </a:ext>
                </a:extLst>
              </p:cNvPr>
              <p:cNvSpPr/>
              <p:nvPr/>
            </p:nvSpPr>
            <p:spPr>
              <a:xfrm>
                <a:off x="-1016273" y="3281323"/>
                <a:ext cx="50171" cy="50171"/>
              </a:xfrm>
              <a:custGeom>
                <a:avLst/>
                <a:gdLst>
                  <a:gd name="connsiteX0" fmla="*/ 0 w 63868"/>
                  <a:gd name="connsiteY0" fmla="*/ 42508 h 63868"/>
                  <a:gd name="connsiteX1" fmla="*/ 33282 w 63868"/>
                  <a:gd name="connsiteY1" fmla="*/ 0 h 63868"/>
                  <a:gd name="connsiteX2" fmla="*/ 68410 w 63868"/>
                  <a:gd name="connsiteY2" fmla="*/ 23986 h 63868"/>
                  <a:gd name="connsiteX3" fmla="*/ 31721 w 63868"/>
                  <a:gd name="connsiteY3" fmla="*/ 70894 h 63868"/>
                  <a:gd name="connsiteX4" fmla="*/ 0 w 63868"/>
                  <a:gd name="connsiteY4" fmla="*/ 4250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42508"/>
                    </a:moveTo>
                    <a:cubicBezTo>
                      <a:pt x="11922" y="29166"/>
                      <a:pt x="23134" y="14832"/>
                      <a:pt x="33282" y="0"/>
                    </a:cubicBezTo>
                    <a:lnTo>
                      <a:pt x="68410" y="23986"/>
                    </a:lnTo>
                    <a:cubicBezTo>
                      <a:pt x="57268" y="40379"/>
                      <a:pt x="44921" y="56133"/>
                      <a:pt x="31721" y="70894"/>
                    </a:cubicBezTo>
                    <a:lnTo>
                      <a:pt x="0"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288BC25E-D436-4E8E-BBB6-06060C57DDD0}"/>
                  </a:ext>
                </a:extLst>
              </p:cNvPr>
              <p:cNvSpPr/>
              <p:nvPr/>
            </p:nvSpPr>
            <p:spPr>
              <a:xfrm>
                <a:off x="-940067" y="3123226"/>
                <a:ext cx="39022" cy="44598"/>
              </a:xfrm>
              <a:custGeom>
                <a:avLst/>
                <a:gdLst>
                  <a:gd name="connsiteX0" fmla="*/ 7948 w 49675"/>
                  <a:gd name="connsiteY0" fmla="*/ 0 h 56771"/>
                  <a:gd name="connsiteX1" fmla="*/ 50385 w 49675"/>
                  <a:gd name="connsiteY1" fmla="*/ 3548 h 56771"/>
                  <a:gd name="connsiteX2" fmla="*/ 41585 w 49675"/>
                  <a:gd name="connsiteY2" fmla="*/ 62378 h 56771"/>
                  <a:gd name="connsiteX3" fmla="*/ 0 w 49675"/>
                  <a:gd name="connsiteY3" fmla="*/ 53365 h 56771"/>
                  <a:gd name="connsiteX4" fmla="*/ 7948 w 49675"/>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5" h="56771">
                    <a:moveTo>
                      <a:pt x="7948" y="0"/>
                    </a:moveTo>
                    <a:lnTo>
                      <a:pt x="50385" y="3548"/>
                    </a:lnTo>
                    <a:cubicBezTo>
                      <a:pt x="48753" y="23205"/>
                      <a:pt x="45772" y="43004"/>
                      <a:pt x="41585" y="62378"/>
                    </a:cubicBezTo>
                    <a:lnTo>
                      <a:pt x="0" y="53365"/>
                    </a:lnTo>
                    <a:cubicBezTo>
                      <a:pt x="3761" y="35766"/>
                      <a:pt x="6458" y="17812"/>
                      <a:pt x="7948" y="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523245E-CD2C-4051-93F3-C6F13F6661F9}"/>
                  </a:ext>
                </a:extLst>
              </p:cNvPr>
              <p:cNvSpPr/>
              <p:nvPr/>
            </p:nvSpPr>
            <p:spPr>
              <a:xfrm>
                <a:off x="-968498" y="3205897"/>
                <a:ext cx="44598" cy="50171"/>
              </a:xfrm>
              <a:custGeom>
                <a:avLst/>
                <a:gdLst>
                  <a:gd name="connsiteX0" fmla="*/ 0 w 56771"/>
                  <a:gd name="connsiteY0" fmla="*/ 49604 h 63868"/>
                  <a:gd name="connsiteX1" fmla="*/ 21360 w 56771"/>
                  <a:gd name="connsiteY1" fmla="*/ 0 h 63868"/>
                  <a:gd name="connsiteX2" fmla="*/ 61455 w 56771"/>
                  <a:gd name="connsiteY2" fmla="*/ 14335 h 63868"/>
                  <a:gd name="connsiteX3" fmla="*/ 37966 w 56771"/>
                  <a:gd name="connsiteY3" fmla="*/ 68907 h 63868"/>
                  <a:gd name="connsiteX4" fmla="*/ 0 w 56771"/>
                  <a:gd name="connsiteY4" fmla="*/ 49604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0" y="49604"/>
                    </a:moveTo>
                    <a:cubicBezTo>
                      <a:pt x="8090" y="33637"/>
                      <a:pt x="15328" y="16819"/>
                      <a:pt x="21360" y="0"/>
                    </a:cubicBezTo>
                    <a:lnTo>
                      <a:pt x="61455" y="14335"/>
                    </a:lnTo>
                    <a:cubicBezTo>
                      <a:pt x="54856" y="32857"/>
                      <a:pt x="46908" y="51307"/>
                      <a:pt x="37966" y="68907"/>
                    </a:cubicBezTo>
                    <a:lnTo>
                      <a:pt x="0" y="49604"/>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49CEFE8-3B64-4F31-B27C-FDF2754E8A3D}"/>
                  </a:ext>
                </a:extLst>
              </p:cNvPr>
              <p:cNvSpPr/>
              <p:nvPr/>
            </p:nvSpPr>
            <p:spPr>
              <a:xfrm>
                <a:off x="-1624914" y="3027230"/>
                <a:ext cx="33447" cy="44598"/>
              </a:xfrm>
              <a:custGeom>
                <a:avLst/>
                <a:gdLst>
                  <a:gd name="connsiteX0" fmla="*/ 49320 w 42578"/>
                  <a:gd name="connsiteY0" fmla="*/ 8090 h 56771"/>
                  <a:gd name="connsiteX1" fmla="*/ 42508 w 42578"/>
                  <a:gd name="connsiteY1" fmla="*/ 61668 h 56771"/>
                  <a:gd name="connsiteX2" fmla="*/ 0 w 42578"/>
                  <a:gd name="connsiteY2" fmla="*/ 58972 h 56771"/>
                  <a:gd name="connsiteX3" fmla="*/ 7522 w 42578"/>
                  <a:gd name="connsiteY3" fmla="*/ 0 h 56771"/>
                  <a:gd name="connsiteX4" fmla="*/ 49320 w 42578"/>
                  <a:gd name="connsiteY4" fmla="*/ 809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9320" y="8090"/>
                    </a:moveTo>
                    <a:cubicBezTo>
                      <a:pt x="45914" y="25689"/>
                      <a:pt x="43643" y="43714"/>
                      <a:pt x="42508" y="61668"/>
                    </a:cubicBezTo>
                    <a:lnTo>
                      <a:pt x="0" y="58972"/>
                    </a:lnTo>
                    <a:cubicBezTo>
                      <a:pt x="1206" y="39243"/>
                      <a:pt x="3761" y="19444"/>
                      <a:pt x="7522" y="0"/>
                    </a:cubicBezTo>
                    <a:lnTo>
                      <a:pt x="49320" y="809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F4C1E82C-35E1-4EAE-9767-51803CF4C040}"/>
                  </a:ext>
                </a:extLst>
              </p:cNvPr>
              <p:cNvSpPr/>
              <p:nvPr/>
            </p:nvSpPr>
            <p:spPr>
              <a:xfrm>
                <a:off x="-1624859" y="3118098"/>
                <a:ext cx="33447" cy="44598"/>
              </a:xfrm>
              <a:custGeom>
                <a:avLst/>
                <a:gdLst>
                  <a:gd name="connsiteX0" fmla="*/ 42508 w 42578"/>
                  <a:gd name="connsiteY0" fmla="*/ 0 h 56771"/>
                  <a:gd name="connsiteX1" fmla="*/ 49533 w 42578"/>
                  <a:gd name="connsiteY1" fmla="*/ 53507 h 56771"/>
                  <a:gd name="connsiteX2" fmla="*/ 7735 w 42578"/>
                  <a:gd name="connsiteY2" fmla="*/ 61739 h 56771"/>
                  <a:gd name="connsiteX3" fmla="*/ 0 w 42578"/>
                  <a:gd name="connsiteY3" fmla="*/ 2768 h 56771"/>
                  <a:gd name="connsiteX4" fmla="*/ 42508 w 42578"/>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2508" y="0"/>
                    </a:moveTo>
                    <a:cubicBezTo>
                      <a:pt x="43714" y="17954"/>
                      <a:pt x="46056" y="35908"/>
                      <a:pt x="49533" y="53507"/>
                    </a:cubicBezTo>
                    <a:lnTo>
                      <a:pt x="7735" y="61739"/>
                    </a:lnTo>
                    <a:cubicBezTo>
                      <a:pt x="3903" y="42366"/>
                      <a:pt x="1277" y="22496"/>
                      <a:pt x="0" y="2768"/>
                    </a:cubicBezTo>
                    <a:lnTo>
                      <a:pt x="425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4E3A7137-1108-418C-8B1F-3531076A4F34}"/>
                  </a:ext>
                </a:extLst>
              </p:cNvPr>
              <p:cNvSpPr/>
              <p:nvPr/>
            </p:nvSpPr>
            <p:spPr>
              <a:xfrm>
                <a:off x="-1427794" y="3388913"/>
                <a:ext cx="50171" cy="44598"/>
              </a:xfrm>
              <a:custGeom>
                <a:avLst/>
                <a:gdLst>
                  <a:gd name="connsiteX0" fmla="*/ 68836 w 63868"/>
                  <a:gd name="connsiteY0" fmla="*/ 21218 h 56771"/>
                  <a:gd name="connsiteX1" fmla="*/ 54643 w 63868"/>
                  <a:gd name="connsiteY1" fmla="*/ 61384 h 56771"/>
                  <a:gd name="connsiteX2" fmla="*/ 0 w 63868"/>
                  <a:gd name="connsiteY2" fmla="*/ 37966 h 56771"/>
                  <a:gd name="connsiteX3" fmla="*/ 19231 w 63868"/>
                  <a:gd name="connsiteY3" fmla="*/ 0 h 56771"/>
                  <a:gd name="connsiteX4" fmla="*/ 68836 w 63868"/>
                  <a:gd name="connsiteY4" fmla="*/ 2121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68836" y="21218"/>
                    </a:moveTo>
                    <a:lnTo>
                      <a:pt x="54643" y="61384"/>
                    </a:lnTo>
                    <a:cubicBezTo>
                      <a:pt x="35979" y="54785"/>
                      <a:pt x="17599" y="46908"/>
                      <a:pt x="0" y="37966"/>
                    </a:cubicBezTo>
                    <a:lnTo>
                      <a:pt x="19231" y="0"/>
                    </a:lnTo>
                    <a:cubicBezTo>
                      <a:pt x="35198" y="8090"/>
                      <a:pt x="51875" y="15257"/>
                      <a:pt x="68836" y="21218"/>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6BA3A117-36A3-4C57-923C-550481D0094E}"/>
                  </a:ext>
                </a:extLst>
              </p:cNvPr>
              <p:cNvSpPr/>
              <p:nvPr/>
            </p:nvSpPr>
            <p:spPr>
              <a:xfrm>
                <a:off x="-1606686" y="3201103"/>
                <a:ext cx="44598" cy="50171"/>
              </a:xfrm>
              <a:custGeom>
                <a:avLst/>
                <a:gdLst>
                  <a:gd name="connsiteX0" fmla="*/ 40308 w 56771"/>
                  <a:gd name="connsiteY0" fmla="*/ 0 h 63868"/>
                  <a:gd name="connsiteX1" fmla="*/ 60888 w 56771"/>
                  <a:gd name="connsiteY1" fmla="*/ 49888 h 63868"/>
                  <a:gd name="connsiteX2" fmla="*/ 22638 w 56771"/>
                  <a:gd name="connsiteY2" fmla="*/ 68623 h 63868"/>
                  <a:gd name="connsiteX3" fmla="*/ 0 w 56771"/>
                  <a:gd name="connsiteY3" fmla="*/ 13554 h 63868"/>
                  <a:gd name="connsiteX4" fmla="*/ 40308 w 56771"/>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40308" y="0"/>
                    </a:moveTo>
                    <a:cubicBezTo>
                      <a:pt x="46056" y="16961"/>
                      <a:pt x="52940" y="33779"/>
                      <a:pt x="60888" y="49888"/>
                    </a:cubicBezTo>
                    <a:lnTo>
                      <a:pt x="22638" y="68623"/>
                    </a:lnTo>
                    <a:cubicBezTo>
                      <a:pt x="13909" y="50811"/>
                      <a:pt x="6316" y="32289"/>
                      <a:pt x="0" y="13554"/>
                    </a:cubicBezTo>
                    <a:lnTo>
                      <a:pt x="403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DF0A1F2F-7530-4894-9137-0689703C3D9D}"/>
                  </a:ext>
                </a:extLst>
              </p:cNvPr>
              <p:cNvSpPr/>
              <p:nvPr/>
            </p:nvSpPr>
            <p:spPr>
              <a:xfrm>
                <a:off x="-1504835" y="3341139"/>
                <a:ext cx="50171" cy="50171"/>
              </a:xfrm>
              <a:custGeom>
                <a:avLst/>
                <a:gdLst>
                  <a:gd name="connsiteX0" fmla="*/ 70894 w 63868"/>
                  <a:gd name="connsiteY0" fmla="*/ 33282 h 63868"/>
                  <a:gd name="connsiteX1" fmla="*/ 46837 w 63868"/>
                  <a:gd name="connsiteY1" fmla="*/ 68410 h 63868"/>
                  <a:gd name="connsiteX2" fmla="*/ 0 w 63868"/>
                  <a:gd name="connsiteY2" fmla="*/ 31721 h 63868"/>
                  <a:gd name="connsiteX3" fmla="*/ 28386 w 63868"/>
                  <a:gd name="connsiteY3" fmla="*/ 0 h 63868"/>
                  <a:gd name="connsiteX4" fmla="*/ 70894 w 63868"/>
                  <a:gd name="connsiteY4" fmla="*/ 3328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70894" y="33282"/>
                    </a:moveTo>
                    <a:lnTo>
                      <a:pt x="46837" y="68410"/>
                    </a:lnTo>
                    <a:cubicBezTo>
                      <a:pt x="30515" y="57268"/>
                      <a:pt x="14761" y="44921"/>
                      <a:pt x="0" y="31721"/>
                    </a:cubicBezTo>
                    <a:lnTo>
                      <a:pt x="28386" y="0"/>
                    </a:lnTo>
                    <a:cubicBezTo>
                      <a:pt x="41798" y="11993"/>
                      <a:pt x="56133" y="23205"/>
                      <a:pt x="70894" y="3328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C8D7855-9F92-46A2-A3B1-9314AEA823F3}"/>
                  </a:ext>
                </a:extLst>
              </p:cNvPr>
              <p:cNvSpPr/>
              <p:nvPr/>
            </p:nvSpPr>
            <p:spPr>
              <a:xfrm>
                <a:off x="-1565712" y="3277085"/>
                <a:ext cx="50171" cy="50171"/>
              </a:xfrm>
              <a:custGeom>
                <a:avLst/>
                <a:gdLst>
                  <a:gd name="connsiteX0" fmla="*/ 35482 w 63868"/>
                  <a:gd name="connsiteY0" fmla="*/ 0 h 63868"/>
                  <a:gd name="connsiteX1" fmla="*/ 68126 w 63868"/>
                  <a:gd name="connsiteY1" fmla="*/ 43075 h 63868"/>
                  <a:gd name="connsiteX2" fmla="*/ 35908 w 63868"/>
                  <a:gd name="connsiteY2" fmla="*/ 70894 h 63868"/>
                  <a:gd name="connsiteX3" fmla="*/ 0 w 63868"/>
                  <a:gd name="connsiteY3" fmla="*/ 23560 h 63868"/>
                  <a:gd name="connsiteX4" fmla="*/ 35482 w 63868"/>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35482" y="0"/>
                    </a:moveTo>
                    <a:cubicBezTo>
                      <a:pt x="45417" y="14974"/>
                      <a:pt x="56417" y="29521"/>
                      <a:pt x="68126" y="43075"/>
                    </a:cubicBezTo>
                    <a:lnTo>
                      <a:pt x="35908" y="70894"/>
                    </a:lnTo>
                    <a:cubicBezTo>
                      <a:pt x="23063" y="55991"/>
                      <a:pt x="10929" y="40024"/>
                      <a:pt x="0" y="23560"/>
                    </a:cubicBezTo>
                    <a:lnTo>
                      <a:pt x="35482"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46" name="Graphic 62" descr=" identify&#10;">
            <a:extLst>
              <a:ext uri="{FF2B5EF4-FFF2-40B4-BE49-F238E27FC236}">
                <a16:creationId xmlns:a16="http://schemas.microsoft.com/office/drawing/2014/main" id="{4E7875A7-E7DE-4ABB-B060-202A23E27803}"/>
              </a:ext>
            </a:extLst>
          </p:cNvPr>
          <p:cNvGrpSpPr/>
          <p:nvPr/>
        </p:nvGrpSpPr>
        <p:grpSpPr>
          <a:xfrm>
            <a:off x="5051351" y="1059762"/>
            <a:ext cx="640830" cy="641188"/>
            <a:chOff x="4530933" y="3079264"/>
            <a:chExt cx="350819" cy="351016"/>
          </a:xfrm>
          <a:solidFill>
            <a:schemeClr val="tx1"/>
          </a:solidFill>
        </p:grpSpPr>
        <p:sp>
          <p:nvSpPr>
            <p:cNvPr id="147" name="Freeform: Shape 146">
              <a:extLst>
                <a:ext uri="{FF2B5EF4-FFF2-40B4-BE49-F238E27FC236}">
                  <a16:creationId xmlns:a16="http://schemas.microsoft.com/office/drawing/2014/main" id="{F881C650-067E-4C48-89AB-83E22238EE9E}"/>
                </a:ext>
              </a:extLst>
            </p:cNvPr>
            <p:cNvSpPr/>
            <p:nvPr/>
          </p:nvSpPr>
          <p:spPr>
            <a:xfrm>
              <a:off x="4669869" y="3171454"/>
              <a:ext cx="73316" cy="73316"/>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932BB3D9-099F-40F7-8890-33B3F4C51E67}"/>
                </a:ext>
              </a:extLst>
            </p:cNvPr>
            <p:cNvSpPr/>
            <p:nvPr/>
          </p:nvSpPr>
          <p:spPr>
            <a:xfrm>
              <a:off x="4623313" y="3273151"/>
              <a:ext cx="164962" cy="84314"/>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1EB0FF66-914C-4420-94FF-C8B320D45E23}"/>
                </a:ext>
              </a:extLst>
            </p:cNvPr>
            <p:cNvSpPr/>
            <p:nvPr/>
          </p:nvSpPr>
          <p:spPr>
            <a:xfrm>
              <a:off x="4530933" y="3079264"/>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5048F14-2D92-40A1-B146-81E977659DCD}"/>
                </a:ext>
              </a:extLst>
            </p:cNvPr>
            <p:cNvSpPr/>
            <p:nvPr/>
          </p:nvSpPr>
          <p:spPr>
            <a:xfrm>
              <a:off x="4789739" y="3079636"/>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4317372-C224-4F13-8FD9-B616A09F696A}"/>
                </a:ext>
              </a:extLst>
            </p:cNvPr>
            <p:cNvSpPr/>
            <p:nvPr/>
          </p:nvSpPr>
          <p:spPr>
            <a:xfrm>
              <a:off x="4790107" y="3338262"/>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50C6FA6C-898D-4C14-BC02-4937DB89C965}"/>
                </a:ext>
              </a:extLst>
            </p:cNvPr>
            <p:cNvSpPr/>
            <p:nvPr/>
          </p:nvSpPr>
          <p:spPr>
            <a:xfrm>
              <a:off x="4530933" y="3338635"/>
              <a:ext cx="91645" cy="91645"/>
            </a:xfrm>
            <a:custGeom>
              <a:avLst/>
              <a:gdLst>
                <a:gd name="connsiteX0" fmla="*/ 1415 w 91645"/>
                <a:gd name="connsiteY0" fmla="*/ 1049 h 91645"/>
                <a:gd name="connsiteX1" fmla="*/ 1049 w 91645"/>
                <a:gd name="connsiteY1" fmla="*/ 93235 h 91645"/>
                <a:gd name="connsiteX2" fmla="*/ 94161 w 91645"/>
                <a:gd name="connsiteY2" fmla="*/ 93235 h 91645"/>
                <a:gd name="connsiteX3" fmla="*/ 94161 w 91645"/>
                <a:gd name="connsiteY3" fmla="*/ 57019 h 91645"/>
                <a:gd name="connsiteX4" fmla="*/ 38440 w 91645"/>
                <a:gd name="connsiteY4" fmla="*/ 57019 h 91645"/>
                <a:gd name="connsiteX5" fmla="*/ 38440 w 91645"/>
                <a:gd name="connsiteY5" fmla="*/ 1049 h 91645"/>
                <a:gd name="connsiteX6" fmla="*/ 1415 w 91645"/>
                <a:gd name="connsiteY6" fmla="*/ 1049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415" y="1049"/>
                  </a:moveTo>
                  <a:lnTo>
                    <a:pt x="1049" y="93235"/>
                  </a:lnTo>
                  <a:lnTo>
                    <a:pt x="94161" y="93235"/>
                  </a:lnTo>
                  <a:lnTo>
                    <a:pt x="94161" y="57019"/>
                  </a:lnTo>
                  <a:lnTo>
                    <a:pt x="38440" y="57019"/>
                  </a:lnTo>
                  <a:lnTo>
                    <a:pt x="38440" y="1049"/>
                  </a:lnTo>
                  <a:lnTo>
                    <a:pt x="1415" y="1049"/>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5D288CD-50CD-46FF-9862-320A61A5DC32}"/>
              </a:ext>
            </a:extLst>
          </p:cNvPr>
          <p:cNvGrpSpPr/>
          <p:nvPr/>
        </p:nvGrpSpPr>
        <p:grpSpPr>
          <a:xfrm>
            <a:off x="5003746" y="3906942"/>
            <a:ext cx="6988045" cy="1297974"/>
            <a:chOff x="5003746" y="3906942"/>
            <a:chExt cx="6988045" cy="1297974"/>
          </a:xfrm>
        </p:grpSpPr>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6008077" y="3906942"/>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CONTINOUSLY IMPROVE</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Point the AI to your website, and automatically build topics to get started with a few clicks. As the bot gets used, powerful metrics and insights help tell you what topics to build next</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p:txBody>
        </p:sp>
        <p:grpSp>
          <p:nvGrpSpPr>
            <p:cNvPr id="153" name="Group 152" descr="equipment monitoring, field service">
              <a:extLst>
                <a:ext uri="{FF2B5EF4-FFF2-40B4-BE49-F238E27FC236}">
                  <a16:creationId xmlns:a16="http://schemas.microsoft.com/office/drawing/2014/main" id="{BE0B079F-BBF2-44EB-93BE-1C5CE50778AA}"/>
                </a:ext>
              </a:extLst>
            </p:cNvPr>
            <p:cNvGrpSpPr/>
            <p:nvPr/>
          </p:nvGrpSpPr>
          <p:grpSpPr>
            <a:xfrm>
              <a:off x="5003746" y="3985992"/>
              <a:ext cx="752139" cy="749217"/>
              <a:chOff x="6366922" y="3978815"/>
              <a:chExt cx="351378" cy="350012"/>
            </a:xfrm>
          </p:grpSpPr>
          <p:sp>
            <p:nvSpPr>
              <p:cNvPr id="154" name="Freeform 60">
                <a:extLst>
                  <a:ext uri="{FF2B5EF4-FFF2-40B4-BE49-F238E27FC236}">
                    <a16:creationId xmlns:a16="http://schemas.microsoft.com/office/drawing/2014/main" id="{FF8130DF-C22E-4438-9227-99E924181655}"/>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61">
                <a:extLst>
                  <a:ext uri="{FF2B5EF4-FFF2-40B4-BE49-F238E27FC236}">
                    <a16:creationId xmlns:a16="http://schemas.microsoft.com/office/drawing/2014/main" id="{CF8F00EF-0ED2-478F-9307-F97BF9E58B84}"/>
                  </a:ext>
                </a:extLst>
              </p:cNvPr>
              <p:cNvSpPr>
                <a:spLocks noChangeArrowheads="1"/>
              </p:cNvSpPr>
              <p:nvPr/>
            </p:nvSpPr>
            <p:spPr bwMode="auto">
              <a:xfrm>
                <a:off x="6458526" y="4291911"/>
                <a:ext cx="166802" cy="3691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2">
                <a:extLst>
                  <a:ext uri="{FF2B5EF4-FFF2-40B4-BE49-F238E27FC236}">
                    <a16:creationId xmlns:a16="http://schemas.microsoft.com/office/drawing/2014/main" id="{E7EE4428-87F9-41BB-A54B-2092CF7EAD45}"/>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63">
                <a:extLst>
                  <a:ext uri="{FF2B5EF4-FFF2-40B4-BE49-F238E27FC236}">
                    <a16:creationId xmlns:a16="http://schemas.microsoft.com/office/drawing/2014/main" id="{F62B3045-280E-4834-B4CA-94B503AC2B37}"/>
                  </a:ext>
                </a:extLst>
              </p:cNvPr>
              <p:cNvSpPr>
                <a:spLocks noChangeArrowheads="1"/>
              </p:cNvSpPr>
              <p:nvPr/>
            </p:nvSpPr>
            <p:spPr bwMode="auto">
              <a:xfrm>
                <a:off x="6402470" y="4033504"/>
                <a:ext cx="222859" cy="19141"/>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C5B2E3D7-31EC-48C5-85CC-810A884946CA}"/>
              </a:ext>
            </a:extLst>
          </p:cNvPr>
          <p:cNvGrpSpPr/>
          <p:nvPr/>
        </p:nvGrpSpPr>
        <p:grpSpPr>
          <a:xfrm>
            <a:off x="4915877" y="5227090"/>
            <a:ext cx="7075914" cy="1346125"/>
            <a:chOff x="4915877" y="5227090"/>
            <a:chExt cx="7075914" cy="1346125"/>
          </a:xfrm>
        </p:grpSpPr>
        <p:pic>
          <p:nvPicPr>
            <p:cNvPr id="2" name="Graphic 2" descr="Connected">
              <a:extLst>
                <a:ext uri="{FF2B5EF4-FFF2-40B4-BE49-F238E27FC236}">
                  <a16:creationId xmlns:a16="http://schemas.microsoft.com/office/drawing/2014/main" id="{8C3DF8A9-1C5E-4229-ABD7-DB264B86D6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15877" y="5227090"/>
              <a:ext cx="914400" cy="914400"/>
            </a:xfrm>
            <a:prstGeom prst="rect">
              <a:avLst/>
            </a:prstGeom>
          </p:spPr>
        </p:pic>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6008077" y="5275241"/>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TAKE ACTION</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Connect to your backend systems with a few clicks using the hundreds of connectors that come with Power Platform – or call APIs and custom workflows using Power Automate. The full power of the Microsoft Bot Framework is only a few clicks a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lt"/>
                <a:cs typeface="Segoe UI"/>
              </a:endParaRPr>
            </a:p>
          </p:txBody>
        </p:sp>
      </p:grpSp>
    </p:spTree>
    <p:extLst>
      <p:ext uri="{BB962C8B-B14F-4D97-AF65-F5344CB8AC3E}">
        <p14:creationId xmlns:p14="http://schemas.microsoft.com/office/powerpoint/2010/main" val="4208994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4.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5.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potx" id="{E1E7FB38-D82A-4D23-8458-E42C97D86401}" vid="{A4986B77-A723-4FE8-9B7C-4FFD8CAC7D45}"/>
    </a:ext>
  </a:extLst>
</a:theme>
</file>

<file path=ppt/theme/theme6.xml><?xml version="1.0" encoding="utf-8"?>
<a:theme xmlns:a="http://schemas.openxmlformats.org/drawingml/2006/main" name="5-50203_Microsoft_Ignite_Template">
  <a:themeElements>
    <a:clrScheme name="Custom 5">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2_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8.xml><?xml version="1.0" encoding="utf-8"?>
<a:theme xmlns:a="http://schemas.openxmlformats.org/drawingml/2006/main" name="1_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9.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docProps/app.xml><?xml version="1.0" encoding="utf-8"?>
<Properties xmlns="http://schemas.openxmlformats.org/officeDocument/2006/extended-properties" xmlns:vt="http://schemas.openxmlformats.org/officeDocument/2006/docPropsVTypes">
  <Template/>
  <TotalTime>441</TotalTime>
  <Words>1828</Words>
  <Application>Microsoft Office PowerPoint</Application>
  <PresentationFormat>Widescreen</PresentationFormat>
  <Paragraphs>319</Paragraphs>
  <Slides>27</Slides>
  <Notes>25</Notes>
  <HiddenSlides>0</HiddenSlides>
  <MMClips>0</MMClips>
  <ScaleCrop>false</ScaleCrop>
  <HeadingPairs>
    <vt:vector size="6" baseType="variant">
      <vt:variant>
        <vt:lpstr>Fonts Used</vt:lpstr>
      </vt:variant>
      <vt:variant>
        <vt:i4>11</vt:i4>
      </vt:variant>
      <vt:variant>
        <vt:lpstr>Theme</vt:lpstr>
      </vt:variant>
      <vt:variant>
        <vt:i4>9</vt:i4>
      </vt:variant>
      <vt:variant>
        <vt:lpstr>Slide Titles</vt:lpstr>
      </vt:variant>
      <vt:variant>
        <vt:i4>27</vt:i4>
      </vt:variant>
    </vt:vector>
  </HeadingPairs>
  <TitlesOfParts>
    <vt:vector size="47" baseType="lpstr">
      <vt:lpstr>Arial</vt:lpstr>
      <vt:lpstr>Calibri</vt:lpstr>
      <vt:lpstr>Calibri Light</vt:lpstr>
      <vt:lpstr>Consolas</vt:lpstr>
      <vt:lpstr>Segoe</vt:lpstr>
      <vt:lpstr>Segoe UI</vt:lpstr>
      <vt:lpstr>Segoe UI Light</vt:lpstr>
      <vt:lpstr>Segoe UI Semibold</vt:lpstr>
      <vt:lpstr>Segoe UI Semilight</vt:lpstr>
      <vt:lpstr>Times New Roman</vt:lpstr>
      <vt:lpstr>Wingdings</vt:lpstr>
      <vt:lpstr>Office Theme</vt:lpstr>
      <vt:lpstr>1_M365 PPT Template - 2017</vt:lpstr>
      <vt:lpstr>Black Template</vt:lpstr>
      <vt:lpstr>Light Gray Template</vt:lpstr>
      <vt:lpstr>9-51056_Build 2019 Breakout_White Template</vt:lpstr>
      <vt:lpstr>5-50203_Microsoft_Ignite_Template</vt:lpstr>
      <vt:lpstr>2_9-51038_Microsoft Buisness Applications Summit Template</vt:lpstr>
      <vt:lpstr>1_Light Gray Template</vt:lpstr>
      <vt:lpstr>2_Dynamics 365</vt:lpstr>
      <vt:lpstr>PowerPoint Presentation</vt:lpstr>
      <vt:lpstr>Course Overview</vt:lpstr>
      <vt:lpstr>Continue…</vt:lpstr>
      <vt:lpstr>PowerPoint Presentation</vt:lpstr>
      <vt:lpstr>Agenda</vt:lpstr>
      <vt:lpstr>Empower your people to drive more business value  through easy to create  natural, conversational AI</vt:lpstr>
      <vt:lpstr>Complex challenges</vt:lpstr>
      <vt:lpstr>Chat bots can help, but…</vt:lpstr>
      <vt:lpstr>Our vision: Power Virtual Agents</vt:lpstr>
      <vt:lpstr>Microsoft Power Platform</vt:lpstr>
      <vt:lpstr>Power Virtual Agents is Designed For Everyone The chatbot service that enhances everyone’s experience</vt:lpstr>
      <vt:lpstr>A Robust Virtual Agent Platform</vt:lpstr>
      <vt:lpstr>Making Bots Easy</vt:lpstr>
      <vt:lpstr>Get Started Quickly</vt:lpstr>
      <vt:lpstr>Avoid Repetitive Conversations</vt:lpstr>
      <vt:lpstr>Converse everywhere</vt:lpstr>
      <vt:lpstr>Easily make your bots better</vt:lpstr>
      <vt:lpstr>PowerPoint Presentation</vt:lpstr>
      <vt:lpstr>Demo: Easily build powerful conversations</vt:lpstr>
      <vt:lpstr>Create personalized customer experiences</vt:lpstr>
      <vt:lpstr>Transfer to a human agent</vt:lpstr>
      <vt:lpstr>PowerPoint Presentation</vt:lpstr>
      <vt:lpstr>Demo: Personalize your customer experience</vt:lpstr>
      <vt:lpstr>Built on Power Platform &amp; Azure Bot Service</vt:lpstr>
      <vt:lpstr>Extend your bot capabilities with Azure Bot Servic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cp:lastModifiedBy>
  <cp:revision>109</cp:revision>
  <dcterms:created xsi:type="dcterms:W3CDTF">2020-02-12T12:44:10Z</dcterms:created>
  <dcterms:modified xsi:type="dcterms:W3CDTF">2021-03-21T18:26:32Z</dcterms:modified>
</cp:coreProperties>
</file>